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</p:sldMasterIdLst>
  <p:notesMasterIdLst>
    <p:notesMasterId r:id="rId47"/>
  </p:notesMasterIdLst>
  <p:sldIdLst>
    <p:sldId id="1722" r:id="rId4"/>
    <p:sldId id="4642" r:id="rId5"/>
    <p:sldId id="1731" r:id="rId6"/>
    <p:sldId id="1635" r:id="rId7"/>
    <p:sldId id="2260" r:id="rId8"/>
    <p:sldId id="2261" r:id="rId9"/>
    <p:sldId id="2244" r:id="rId10"/>
    <p:sldId id="4630" r:id="rId11"/>
    <p:sldId id="4631" r:id="rId12"/>
    <p:sldId id="1726" r:id="rId13"/>
    <p:sldId id="4627" r:id="rId14"/>
    <p:sldId id="1728" r:id="rId15"/>
    <p:sldId id="4698" r:id="rId16"/>
    <p:sldId id="2262" r:id="rId17"/>
    <p:sldId id="2263" r:id="rId18"/>
    <p:sldId id="4671" r:id="rId19"/>
    <p:sldId id="2272" r:id="rId20"/>
    <p:sldId id="2274" r:id="rId21"/>
    <p:sldId id="2276" r:id="rId22"/>
    <p:sldId id="4643" r:id="rId23"/>
    <p:sldId id="1482" r:id="rId24"/>
    <p:sldId id="1091" r:id="rId25"/>
    <p:sldId id="4681" r:id="rId26"/>
    <p:sldId id="4682" r:id="rId27"/>
    <p:sldId id="4683" r:id="rId28"/>
    <p:sldId id="4684" r:id="rId29"/>
    <p:sldId id="4685" r:id="rId30"/>
    <p:sldId id="4686" r:id="rId31"/>
    <p:sldId id="4687" r:id="rId32"/>
    <p:sldId id="4699" r:id="rId33"/>
    <p:sldId id="4700" r:id="rId34"/>
    <p:sldId id="2388" r:id="rId35"/>
    <p:sldId id="4688" r:id="rId36"/>
    <p:sldId id="4689" r:id="rId37"/>
    <p:sldId id="4690" r:id="rId38"/>
    <p:sldId id="4691" r:id="rId39"/>
    <p:sldId id="4692" r:id="rId40"/>
    <p:sldId id="4693" r:id="rId41"/>
    <p:sldId id="4694" r:id="rId42"/>
    <p:sldId id="4695" r:id="rId43"/>
    <p:sldId id="4589" r:id="rId44"/>
    <p:sldId id="4701" r:id="rId45"/>
    <p:sldId id="4696" r:id="rId46"/>
  </p:sldIdLst>
  <p:sldSz cx="12192000" cy="6858000"/>
  <p:notesSz cx="6858000" cy="9144000"/>
  <p:embeddedFontLst>
    <p:embeddedFont>
      <p:font typeface="Calibri" panose="020F0502020204030204" pitchFamily="34" charset="0"/>
      <p:regular r:id="rId48"/>
      <p:bold r:id="rId49"/>
      <p:italic r:id="rId50"/>
      <p:boldItalic r:id="rId51"/>
    </p:embeddedFont>
    <p:embeddedFont>
      <p:font typeface="Calibri Light" panose="020F0302020204030204" pitchFamily="34" charset="0"/>
      <p:regular r:id="rId52"/>
      <p:italic r:id="rId53"/>
    </p:embeddedFont>
  </p:embeddedFontLst>
  <p:custDataLst>
    <p:tags r:id="rId5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FF00"/>
    <a:srgbClr val="FF00FF"/>
    <a:srgbClr val="000000"/>
    <a:srgbClr val="F3D9DC"/>
    <a:srgbClr val="EFCCCF"/>
    <a:srgbClr val="FFFFFF"/>
    <a:srgbClr val="F7E7E9"/>
    <a:srgbClr val="B0C2E5"/>
    <a:srgbClr val="719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6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294" y="13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notesMaster" Target="notesMasters/notesMaster1.xml"/><Relationship Id="rId50" Type="http://schemas.openxmlformats.org/officeDocument/2006/relationships/font" Target="fonts/font3.fntdata"/><Relationship Id="rId55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font" Target="fonts/font6.fntdata"/><Relationship Id="rId58" Type="http://schemas.openxmlformats.org/officeDocument/2006/relationships/tableStyles" Target="tableStyles.xml"/><Relationship Id="rId5" Type="http://schemas.openxmlformats.org/officeDocument/2006/relationships/slide" Target="slides/slide2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font" Target="fonts/font1.fntdata"/><Relationship Id="rId56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font" Target="fonts/font4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font" Target="fonts/font2.fntdata"/><Relationship Id="rId57" Type="http://schemas.openxmlformats.org/officeDocument/2006/relationships/theme" Target="theme/theme1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font" Target="fonts/font5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G$1:$MZ$1</c:f>
              <c:strCache>
                <c:ptCount val="358"/>
                <c:pt idx="0">
                  <c:v>25-XII.</c:v>
                </c:pt>
                <c:pt idx="1">
                  <c:v>26-XII.</c:v>
                </c:pt>
                <c:pt idx="2">
                  <c:v>27-XII.</c:v>
                </c:pt>
                <c:pt idx="3">
                  <c:v>28-XII.</c:v>
                </c:pt>
                <c:pt idx="4">
                  <c:v>29-XII.</c:v>
                </c:pt>
                <c:pt idx="5">
                  <c:v>30-XII.</c:v>
                </c:pt>
                <c:pt idx="6">
                  <c:v>31-XII.</c:v>
                </c:pt>
                <c:pt idx="7">
                  <c:v>1-I.</c:v>
                </c:pt>
                <c:pt idx="8">
                  <c:v>2-I.</c:v>
                </c:pt>
                <c:pt idx="9">
                  <c:v>3-I.</c:v>
                </c:pt>
                <c:pt idx="10">
                  <c:v>4-I.</c:v>
                </c:pt>
                <c:pt idx="11">
                  <c:v>5-I.</c:v>
                </c:pt>
                <c:pt idx="12">
                  <c:v>6-I.</c:v>
                </c:pt>
                <c:pt idx="13">
                  <c:v>7-I.</c:v>
                </c:pt>
                <c:pt idx="14">
                  <c:v>8-I.</c:v>
                </c:pt>
                <c:pt idx="15">
                  <c:v>9-I.</c:v>
                </c:pt>
                <c:pt idx="16">
                  <c:v>10-I.</c:v>
                </c:pt>
                <c:pt idx="17">
                  <c:v>11-I.</c:v>
                </c:pt>
                <c:pt idx="18">
                  <c:v>12-I.</c:v>
                </c:pt>
                <c:pt idx="19">
                  <c:v>13-I.</c:v>
                </c:pt>
                <c:pt idx="20">
                  <c:v>14-I.</c:v>
                </c:pt>
                <c:pt idx="21">
                  <c:v>15-I.</c:v>
                </c:pt>
                <c:pt idx="22">
                  <c:v>16-I.</c:v>
                </c:pt>
                <c:pt idx="23">
                  <c:v>17-I.</c:v>
                </c:pt>
                <c:pt idx="24">
                  <c:v>18-I.</c:v>
                </c:pt>
                <c:pt idx="25">
                  <c:v>19-I.</c:v>
                </c:pt>
                <c:pt idx="26">
                  <c:v>20-I.</c:v>
                </c:pt>
                <c:pt idx="27">
                  <c:v>21-I.</c:v>
                </c:pt>
                <c:pt idx="28">
                  <c:v>22-I.</c:v>
                </c:pt>
                <c:pt idx="29">
                  <c:v>23-I.</c:v>
                </c:pt>
                <c:pt idx="30">
                  <c:v>24-I.</c:v>
                </c:pt>
                <c:pt idx="31">
                  <c:v>25-I.</c:v>
                </c:pt>
                <c:pt idx="32">
                  <c:v>26-I.</c:v>
                </c:pt>
                <c:pt idx="33">
                  <c:v>27-I.</c:v>
                </c:pt>
                <c:pt idx="34">
                  <c:v>28-I.</c:v>
                </c:pt>
                <c:pt idx="35">
                  <c:v>29-I.</c:v>
                </c:pt>
                <c:pt idx="36">
                  <c:v>30-I.</c:v>
                </c:pt>
                <c:pt idx="37">
                  <c:v>31-I.</c:v>
                </c:pt>
                <c:pt idx="38">
                  <c:v>1-II.</c:v>
                </c:pt>
                <c:pt idx="39">
                  <c:v>2-II.</c:v>
                </c:pt>
                <c:pt idx="40">
                  <c:v>3-II.</c:v>
                </c:pt>
                <c:pt idx="41">
                  <c:v>4-II.</c:v>
                </c:pt>
                <c:pt idx="42">
                  <c:v>5-II.</c:v>
                </c:pt>
                <c:pt idx="43">
                  <c:v>6-II.</c:v>
                </c:pt>
                <c:pt idx="44">
                  <c:v>7-II.</c:v>
                </c:pt>
                <c:pt idx="45">
                  <c:v>8-II.</c:v>
                </c:pt>
                <c:pt idx="46">
                  <c:v>9-II.</c:v>
                </c:pt>
                <c:pt idx="47">
                  <c:v>10-II.</c:v>
                </c:pt>
                <c:pt idx="48">
                  <c:v>11-II.</c:v>
                </c:pt>
                <c:pt idx="49">
                  <c:v>12-II.</c:v>
                </c:pt>
                <c:pt idx="50">
                  <c:v>13-II.</c:v>
                </c:pt>
                <c:pt idx="51">
                  <c:v>14-II.</c:v>
                </c:pt>
                <c:pt idx="52">
                  <c:v>15-II.</c:v>
                </c:pt>
                <c:pt idx="53">
                  <c:v>16-II.</c:v>
                </c:pt>
                <c:pt idx="54">
                  <c:v>17-II.</c:v>
                </c:pt>
                <c:pt idx="55">
                  <c:v>18-II.</c:v>
                </c:pt>
                <c:pt idx="56">
                  <c:v>19-II.</c:v>
                </c:pt>
                <c:pt idx="57">
                  <c:v>20-II.</c:v>
                </c:pt>
                <c:pt idx="58">
                  <c:v>21-II.</c:v>
                </c:pt>
                <c:pt idx="59">
                  <c:v>22-II.</c:v>
                </c:pt>
                <c:pt idx="60">
                  <c:v>23-II.</c:v>
                </c:pt>
                <c:pt idx="61">
                  <c:v>24-II.</c:v>
                </c:pt>
                <c:pt idx="62">
                  <c:v>25-II.</c:v>
                </c:pt>
                <c:pt idx="63">
                  <c:v>26-II.</c:v>
                </c:pt>
                <c:pt idx="64">
                  <c:v>27-II.</c:v>
                </c:pt>
                <c:pt idx="65">
                  <c:v>28-II.</c:v>
                </c:pt>
                <c:pt idx="66">
                  <c:v>1-III.</c:v>
                </c:pt>
                <c:pt idx="67">
                  <c:v>2-III.</c:v>
                </c:pt>
                <c:pt idx="68">
                  <c:v>3-III.</c:v>
                </c:pt>
                <c:pt idx="69">
                  <c:v>4-III.</c:v>
                </c:pt>
                <c:pt idx="70">
                  <c:v>5-III.</c:v>
                </c:pt>
                <c:pt idx="71">
                  <c:v>6-III.</c:v>
                </c:pt>
                <c:pt idx="72">
                  <c:v>7-III.</c:v>
                </c:pt>
                <c:pt idx="73">
                  <c:v>8-III.</c:v>
                </c:pt>
                <c:pt idx="74">
                  <c:v>9-III.</c:v>
                </c:pt>
                <c:pt idx="75">
                  <c:v>10-III.</c:v>
                </c:pt>
                <c:pt idx="76">
                  <c:v>11-III.</c:v>
                </c:pt>
                <c:pt idx="77">
                  <c:v>12-III.</c:v>
                </c:pt>
                <c:pt idx="78">
                  <c:v>13-III.</c:v>
                </c:pt>
                <c:pt idx="79">
                  <c:v>14-III.</c:v>
                </c:pt>
                <c:pt idx="80">
                  <c:v>15-III.</c:v>
                </c:pt>
                <c:pt idx="81">
                  <c:v>16-III.</c:v>
                </c:pt>
                <c:pt idx="82">
                  <c:v>17-III.</c:v>
                </c:pt>
                <c:pt idx="83">
                  <c:v>18-III.</c:v>
                </c:pt>
                <c:pt idx="84">
                  <c:v>19-III.</c:v>
                </c:pt>
                <c:pt idx="85">
                  <c:v>20-III.</c:v>
                </c:pt>
                <c:pt idx="86">
                  <c:v>21-III.</c:v>
                </c:pt>
                <c:pt idx="87">
                  <c:v>22-III.</c:v>
                </c:pt>
                <c:pt idx="88">
                  <c:v>23-III.</c:v>
                </c:pt>
                <c:pt idx="89">
                  <c:v>24-III.</c:v>
                </c:pt>
                <c:pt idx="90">
                  <c:v>25-III.</c:v>
                </c:pt>
                <c:pt idx="91">
                  <c:v>26-III.</c:v>
                </c:pt>
                <c:pt idx="92">
                  <c:v>27-III.</c:v>
                </c:pt>
                <c:pt idx="93">
                  <c:v>28-III.</c:v>
                </c:pt>
                <c:pt idx="94">
                  <c:v>29-III.</c:v>
                </c:pt>
                <c:pt idx="95">
                  <c:v>30-III.</c:v>
                </c:pt>
                <c:pt idx="96">
                  <c:v>31-III.</c:v>
                </c:pt>
                <c:pt idx="97">
                  <c:v>1-IV.</c:v>
                </c:pt>
                <c:pt idx="98">
                  <c:v>2-IV.</c:v>
                </c:pt>
                <c:pt idx="99">
                  <c:v>3-IV.</c:v>
                </c:pt>
                <c:pt idx="100">
                  <c:v>4-IV.</c:v>
                </c:pt>
                <c:pt idx="101">
                  <c:v>5-IV.</c:v>
                </c:pt>
                <c:pt idx="102">
                  <c:v>6-IV.</c:v>
                </c:pt>
                <c:pt idx="103">
                  <c:v>7-IV.</c:v>
                </c:pt>
                <c:pt idx="104">
                  <c:v>8-IV.</c:v>
                </c:pt>
                <c:pt idx="105">
                  <c:v>9-IV.</c:v>
                </c:pt>
                <c:pt idx="106">
                  <c:v>10-IV.</c:v>
                </c:pt>
                <c:pt idx="107">
                  <c:v>11-IV.</c:v>
                </c:pt>
                <c:pt idx="108">
                  <c:v>12-IV.</c:v>
                </c:pt>
                <c:pt idx="109">
                  <c:v>13-IV.</c:v>
                </c:pt>
                <c:pt idx="110">
                  <c:v>14-IV.</c:v>
                </c:pt>
                <c:pt idx="111">
                  <c:v>15-IV.</c:v>
                </c:pt>
                <c:pt idx="112">
                  <c:v>16-IV.</c:v>
                </c:pt>
                <c:pt idx="113">
                  <c:v>17-IV.</c:v>
                </c:pt>
                <c:pt idx="114">
                  <c:v>18-IV.</c:v>
                </c:pt>
                <c:pt idx="115">
                  <c:v>19-IV.</c:v>
                </c:pt>
                <c:pt idx="116">
                  <c:v>20-IV.</c:v>
                </c:pt>
                <c:pt idx="117">
                  <c:v>21-IV.</c:v>
                </c:pt>
                <c:pt idx="118">
                  <c:v>22-IV.</c:v>
                </c:pt>
                <c:pt idx="119">
                  <c:v>23-IV.</c:v>
                </c:pt>
                <c:pt idx="120">
                  <c:v>24-IV.</c:v>
                </c:pt>
                <c:pt idx="121">
                  <c:v>25-IV.</c:v>
                </c:pt>
                <c:pt idx="122">
                  <c:v>26-IV.</c:v>
                </c:pt>
                <c:pt idx="123">
                  <c:v>27-IV.</c:v>
                </c:pt>
                <c:pt idx="124">
                  <c:v>28-IV.</c:v>
                </c:pt>
                <c:pt idx="125">
                  <c:v>29-IV.</c:v>
                </c:pt>
                <c:pt idx="126">
                  <c:v>30-IV.</c:v>
                </c:pt>
                <c:pt idx="127">
                  <c:v>1-V.</c:v>
                </c:pt>
                <c:pt idx="128">
                  <c:v>2-V.</c:v>
                </c:pt>
                <c:pt idx="129">
                  <c:v>3-V.</c:v>
                </c:pt>
                <c:pt idx="130">
                  <c:v>4-V.</c:v>
                </c:pt>
                <c:pt idx="131">
                  <c:v>5-V.</c:v>
                </c:pt>
                <c:pt idx="132">
                  <c:v>6-V.</c:v>
                </c:pt>
                <c:pt idx="133">
                  <c:v>7-V.</c:v>
                </c:pt>
                <c:pt idx="134">
                  <c:v>8-V.</c:v>
                </c:pt>
                <c:pt idx="135">
                  <c:v>9-V.</c:v>
                </c:pt>
                <c:pt idx="136">
                  <c:v>10-V.</c:v>
                </c:pt>
                <c:pt idx="137">
                  <c:v>11-V.</c:v>
                </c:pt>
                <c:pt idx="138">
                  <c:v>12-V.</c:v>
                </c:pt>
                <c:pt idx="139">
                  <c:v>13-V.</c:v>
                </c:pt>
                <c:pt idx="140">
                  <c:v>14-V.</c:v>
                </c:pt>
                <c:pt idx="141">
                  <c:v>15-V.</c:v>
                </c:pt>
                <c:pt idx="142">
                  <c:v>16-V.</c:v>
                </c:pt>
                <c:pt idx="143">
                  <c:v>17-V.</c:v>
                </c:pt>
                <c:pt idx="144">
                  <c:v>18-V.</c:v>
                </c:pt>
                <c:pt idx="145">
                  <c:v>19-V.</c:v>
                </c:pt>
                <c:pt idx="146">
                  <c:v>20-V.</c:v>
                </c:pt>
                <c:pt idx="147">
                  <c:v>21-V.</c:v>
                </c:pt>
                <c:pt idx="148">
                  <c:v>22-V.</c:v>
                </c:pt>
                <c:pt idx="149">
                  <c:v>23-V.</c:v>
                </c:pt>
                <c:pt idx="150">
                  <c:v>24-V.</c:v>
                </c:pt>
                <c:pt idx="151">
                  <c:v>25-V.</c:v>
                </c:pt>
                <c:pt idx="152">
                  <c:v>26-V.</c:v>
                </c:pt>
                <c:pt idx="153">
                  <c:v>27-V.</c:v>
                </c:pt>
                <c:pt idx="154">
                  <c:v>28-V.</c:v>
                </c:pt>
                <c:pt idx="155">
                  <c:v>29-V.</c:v>
                </c:pt>
                <c:pt idx="156">
                  <c:v>30-V.</c:v>
                </c:pt>
                <c:pt idx="157">
                  <c:v>31-V.</c:v>
                </c:pt>
                <c:pt idx="158">
                  <c:v>1-VI.</c:v>
                </c:pt>
                <c:pt idx="159">
                  <c:v>2-VI.</c:v>
                </c:pt>
                <c:pt idx="160">
                  <c:v>3-VI.</c:v>
                </c:pt>
                <c:pt idx="161">
                  <c:v>4-VI.</c:v>
                </c:pt>
                <c:pt idx="162">
                  <c:v>5-VI.</c:v>
                </c:pt>
                <c:pt idx="163">
                  <c:v>6-VI.</c:v>
                </c:pt>
                <c:pt idx="164">
                  <c:v>7-VI.</c:v>
                </c:pt>
                <c:pt idx="165">
                  <c:v>8-VI.</c:v>
                </c:pt>
                <c:pt idx="166">
                  <c:v>9-VI.</c:v>
                </c:pt>
                <c:pt idx="167">
                  <c:v>10-VI.</c:v>
                </c:pt>
                <c:pt idx="168">
                  <c:v>11-VI.</c:v>
                </c:pt>
                <c:pt idx="169">
                  <c:v>12-VI.</c:v>
                </c:pt>
                <c:pt idx="170">
                  <c:v>13-VI.</c:v>
                </c:pt>
                <c:pt idx="171">
                  <c:v>14-VI.</c:v>
                </c:pt>
                <c:pt idx="172">
                  <c:v>15-VI.</c:v>
                </c:pt>
                <c:pt idx="173">
                  <c:v>16-VI.</c:v>
                </c:pt>
                <c:pt idx="174">
                  <c:v>17-VI.</c:v>
                </c:pt>
                <c:pt idx="175">
                  <c:v>18-VI.</c:v>
                </c:pt>
                <c:pt idx="176">
                  <c:v>19-VI.</c:v>
                </c:pt>
                <c:pt idx="177">
                  <c:v>20-VI.</c:v>
                </c:pt>
                <c:pt idx="178">
                  <c:v>21-VI.</c:v>
                </c:pt>
                <c:pt idx="179">
                  <c:v>22-VI.</c:v>
                </c:pt>
                <c:pt idx="180">
                  <c:v>23-VI.</c:v>
                </c:pt>
                <c:pt idx="181">
                  <c:v>24-VI.</c:v>
                </c:pt>
                <c:pt idx="182">
                  <c:v>25-VI.</c:v>
                </c:pt>
                <c:pt idx="183">
                  <c:v>26-VI.</c:v>
                </c:pt>
                <c:pt idx="184">
                  <c:v>27-VI.</c:v>
                </c:pt>
                <c:pt idx="185">
                  <c:v>28-VI.</c:v>
                </c:pt>
                <c:pt idx="186">
                  <c:v>29-VI.</c:v>
                </c:pt>
                <c:pt idx="187">
                  <c:v>30-VI.</c:v>
                </c:pt>
                <c:pt idx="188">
                  <c:v>1-VII.</c:v>
                </c:pt>
                <c:pt idx="189">
                  <c:v>2-VII.</c:v>
                </c:pt>
                <c:pt idx="190">
                  <c:v>3-VII.</c:v>
                </c:pt>
                <c:pt idx="191">
                  <c:v>4-VII.</c:v>
                </c:pt>
                <c:pt idx="192">
                  <c:v>5-VII.</c:v>
                </c:pt>
                <c:pt idx="193">
                  <c:v>6-VII.</c:v>
                </c:pt>
                <c:pt idx="194">
                  <c:v>7-VII.</c:v>
                </c:pt>
                <c:pt idx="195">
                  <c:v>8-VII.</c:v>
                </c:pt>
                <c:pt idx="196">
                  <c:v>9-VII.</c:v>
                </c:pt>
                <c:pt idx="197">
                  <c:v>10-VII.</c:v>
                </c:pt>
                <c:pt idx="198">
                  <c:v>11-VII.</c:v>
                </c:pt>
                <c:pt idx="199">
                  <c:v>12-VII.</c:v>
                </c:pt>
                <c:pt idx="200">
                  <c:v>13-VII.</c:v>
                </c:pt>
                <c:pt idx="201">
                  <c:v>14-VII.</c:v>
                </c:pt>
                <c:pt idx="202">
                  <c:v>15-VII.</c:v>
                </c:pt>
                <c:pt idx="203">
                  <c:v>16-VII.</c:v>
                </c:pt>
                <c:pt idx="204">
                  <c:v>17-VII.</c:v>
                </c:pt>
                <c:pt idx="205">
                  <c:v>18-VII.</c:v>
                </c:pt>
                <c:pt idx="206">
                  <c:v>19-VII.</c:v>
                </c:pt>
                <c:pt idx="207">
                  <c:v>20-VII.</c:v>
                </c:pt>
                <c:pt idx="208">
                  <c:v>21-VII.</c:v>
                </c:pt>
                <c:pt idx="209">
                  <c:v>22-VII.</c:v>
                </c:pt>
                <c:pt idx="210">
                  <c:v>23-VII.</c:v>
                </c:pt>
                <c:pt idx="211">
                  <c:v>24-VII.</c:v>
                </c:pt>
                <c:pt idx="212">
                  <c:v>25-VII.</c:v>
                </c:pt>
                <c:pt idx="213">
                  <c:v>26-VII.</c:v>
                </c:pt>
                <c:pt idx="214">
                  <c:v>27-VII.</c:v>
                </c:pt>
                <c:pt idx="215">
                  <c:v>28-VII.</c:v>
                </c:pt>
                <c:pt idx="216">
                  <c:v>29-VII.</c:v>
                </c:pt>
                <c:pt idx="217">
                  <c:v>30-VII.</c:v>
                </c:pt>
                <c:pt idx="218">
                  <c:v>31-VII.</c:v>
                </c:pt>
                <c:pt idx="219">
                  <c:v>1-VIII.</c:v>
                </c:pt>
                <c:pt idx="220">
                  <c:v>2-VIII.</c:v>
                </c:pt>
                <c:pt idx="221">
                  <c:v>3-VIII.</c:v>
                </c:pt>
                <c:pt idx="222">
                  <c:v>4-VIII.</c:v>
                </c:pt>
                <c:pt idx="223">
                  <c:v>5-VIII.</c:v>
                </c:pt>
                <c:pt idx="224">
                  <c:v>6-VIII.</c:v>
                </c:pt>
                <c:pt idx="225">
                  <c:v>7-VIII.</c:v>
                </c:pt>
                <c:pt idx="226">
                  <c:v>8-VIII.</c:v>
                </c:pt>
                <c:pt idx="227">
                  <c:v>9-VIII.</c:v>
                </c:pt>
                <c:pt idx="228">
                  <c:v>10-VIII.</c:v>
                </c:pt>
                <c:pt idx="229">
                  <c:v>11-VIII.</c:v>
                </c:pt>
                <c:pt idx="230">
                  <c:v>12-VIII.</c:v>
                </c:pt>
                <c:pt idx="231">
                  <c:v>13-VIII.</c:v>
                </c:pt>
                <c:pt idx="232">
                  <c:v>14-VIII.</c:v>
                </c:pt>
                <c:pt idx="233">
                  <c:v>15-VIII.</c:v>
                </c:pt>
                <c:pt idx="234">
                  <c:v>16-VIII.</c:v>
                </c:pt>
                <c:pt idx="235">
                  <c:v>17-VIII.</c:v>
                </c:pt>
                <c:pt idx="236">
                  <c:v>18-VIII.</c:v>
                </c:pt>
                <c:pt idx="237">
                  <c:v>19-VIII.</c:v>
                </c:pt>
                <c:pt idx="238">
                  <c:v>20-VIII.</c:v>
                </c:pt>
                <c:pt idx="239">
                  <c:v>21-VIII.</c:v>
                </c:pt>
                <c:pt idx="240">
                  <c:v>22-VIII.</c:v>
                </c:pt>
                <c:pt idx="241">
                  <c:v>23-VIII.</c:v>
                </c:pt>
                <c:pt idx="242">
                  <c:v>24-VIII.</c:v>
                </c:pt>
                <c:pt idx="243">
                  <c:v>25-VIII.</c:v>
                </c:pt>
                <c:pt idx="244">
                  <c:v>26-VIII.</c:v>
                </c:pt>
                <c:pt idx="245">
                  <c:v>27-VIII.</c:v>
                </c:pt>
                <c:pt idx="246">
                  <c:v>28-VIII.</c:v>
                </c:pt>
                <c:pt idx="247">
                  <c:v>29-VIII.</c:v>
                </c:pt>
                <c:pt idx="248">
                  <c:v>30-VIII.</c:v>
                </c:pt>
                <c:pt idx="249">
                  <c:v>31-VIII.</c:v>
                </c:pt>
                <c:pt idx="250">
                  <c:v>1-IX.</c:v>
                </c:pt>
                <c:pt idx="251">
                  <c:v>2-IX.</c:v>
                </c:pt>
                <c:pt idx="252">
                  <c:v>3-IX.</c:v>
                </c:pt>
                <c:pt idx="253">
                  <c:v>4-IX.</c:v>
                </c:pt>
                <c:pt idx="254">
                  <c:v>5-IX.</c:v>
                </c:pt>
                <c:pt idx="255">
                  <c:v>6-IX.</c:v>
                </c:pt>
                <c:pt idx="256">
                  <c:v>7-IX.</c:v>
                </c:pt>
                <c:pt idx="257">
                  <c:v>8-IX.</c:v>
                </c:pt>
                <c:pt idx="258">
                  <c:v>9-IX.</c:v>
                </c:pt>
                <c:pt idx="259">
                  <c:v>10-IX.</c:v>
                </c:pt>
                <c:pt idx="260">
                  <c:v>11-IX.</c:v>
                </c:pt>
                <c:pt idx="261">
                  <c:v>12-IX.</c:v>
                </c:pt>
                <c:pt idx="262">
                  <c:v>13-IX.</c:v>
                </c:pt>
                <c:pt idx="263">
                  <c:v>14-IX.</c:v>
                </c:pt>
                <c:pt idx="264">
                  <c:v>15-IX.</c:v>
                </c:pt>
                <c:pt idx="265">
                  <c:v>16-IX.</c:v>
                </c:pt>
                <c:pt idx="266">
                  <c:v>17-IX.</c:v>
                </c:pt>
                <c:pt idx="267">
                  <c:v>18-IX.</c:v>
                </c:pt>
                <c:pt idx="268">
                  <c:v>19-IX.</c:v>
                </c:pt>
                <c:pt idx="269">
                  <c:v>20-IX.</c:v>
                </c:pt>
                <c:pt idx="270">
                  <c:v>21-IX.</c:v>
                </c:pt>
                <c:pt idx="271">
                  <c:v>22-IX.</c:v>
                </c:pt>
                <c:pt idx="272">
                  <c:v>23-IX.</c:v>
                </c:pt>
                <c:pt idx="273">
                  <c:v>24-IX.</c:v>
                </c:pt>
                <c:pt idx="274">
                  <c:v>25-IX.</c:v>
                </c:pt>
                <c:pt idx="275">
                  <c:v>26-IX.</c:v>
                </c:pt>
                <c:pt idx="276">
                  <c:v>27-IX.</c:v>
                </c:pt>
                <c:pt idx="277">
                  <c:v>28-IX.</c:v>
                </c:pt>
                <c:pt idx="278">
                  <c:v>29-IX.</c:v>
                </c:pt>
                <c:pt idx="279">
                  <c:v>30-IX.</c:v>
                </c:pt>
                <c:pt idx="280">
                  <c:v>1-X.</c:v>
                </c:pt>
                <c:pt idx="281">
                  <c:v>2-X.</c:v>
                </c:pt>
                <c:pt idx="282">
                  <c:v>3-X.</c:v>
                </c:pt>
                <c:pt idx="283">
                  <c:v>4-X.</c:v>
                </c:pt>
                <c:pt idx="284">
                  <c:v>5-X.</c:v>
                </c:pt>
                <c:pt idx="285">
                  <c:v>6-X.</c:v>
                </c:pt>
                <c:pt idx="286">
                  <c:v>7-X.</c:v>
                </c:pt>
                <c:pt idx="287">
                  <c:v>8-X.</c:v>
                </c:pt>
                <c:pt idx="288">
                  <c:v>9-X.</c:v>
                </c:pt>
                <c:pt idx="289">
                  <c:v>10-X.</c:v>
                </c:pt>
                <c:pt idx="290">
                  <c:v>11-X.</c:v>
                </c:pt>
                <c:pt idx="291">
                  <c:v>12-X.</c:v>
                </c:pt>
                <c:pt idx="292">
                  <c:v>13-X.</c:v>
                </c:pt>
                <c:pt idx="293">
                  <c:v>14-X.</c:v>
                </c:pt>
                <c:pt idx="294">
                  <c:v>15-X.</c:v>
                </c:pt>
                <c:pt idx="295">
                  <c:v>16-X.</c:v>
                </c:pt>
                <c:pt idx="296">
                  <c:v>17-X.</c:v>
                </c:pt>
                <c:pt idx="297">
                  <c:v>18-X.</c:v>
                </c:pt>
                <c:pt idx="298">
                  <c:v>19-X.</c:v>
                </c:pt>
                <c:pt idx="299">
                  <c:v>20-X.</c:v>
                </c:pt>
                <c:pt idx="300">
                  <c:v>21-X.</c:v>
                </c:pt>
                <c:pt idx="301">
                  <c:v>22-X.</c:v>
                </c:pt>
                <c:pt idx="302">
                  <c:v>23-X.</c:v>
                </c:pt>
                <c:pt idx="303">
                  <c:v>24-X.</c:v>
                </c:pt>
                <c:pt idx="304">
                  <c:v>25-X.</c:v>
                </c:pt>
                <c:pt idx="305">
                  <c:v>26-X.</c:v>
                </c:pt>
                <c:pt idx="306">
                  <c:v>27-X.</c:v>
                </c:pt>
                <c:pt idx="307">
                  <c:v>28-X.</c:v>
                </c:pt>
                <c:pt idx="308">
                  <c:v>29-X.</c:v>
                </c:pt>
                <c:pt idx="309">
                  <c:v>30-X.</c:v>
                </c:pt>
                <c:pt idx="310">
                  <c:v>31-X.</c:v>
                </c:pt>
                <c:pt idx="311">
                  <c:v>1-XI.</c:v>
                </c:pt>
                <c:pt idx="312">
                  <c:v>2-XI.</c:v>
                </c:pt>
                <c:pt idx="313">
                  <c:v>3-XI.</c:v>
                </c:pt>
                <c:pt idx="314">
                  <c:v>4-XI.</c:v>
                </c:pt>
                <c:pt idx="315">
                  <c:v>5-XI.</c:v>
                </c:pt>
                <c:pt idx="316">
                  <c:v>6-XI.</c:v>
                </c:pt>
                <c:pt idx="317">
                  <c:v>7-XI.</c:v>
                </c:pt>
                <c:pt idx="318">
                  <c:v>8-XI.</c:v>
                </c:pt>
                <c:pt idx="319">
                  <c:v>9-XI.</c:v>
                </c:pt>
                <c:pt idx="320">
                  <c:v>10-XI.</c:v>
                </c:pt>
                <c:pt idx="321">
                  <c:v>11-XI.</c:v>
                </c:pt>
                <c:pt idx="322">
                  <c:v>12-XI.</c:v>
                </c:pt>
                <c:pt idx="323">
                  <c:v>13-XI.</c:v>
                </c:pt>
                <c:pt idx="324">
                  <c:v>14-XI.</c:v>
                </c:pt>
                <c:pt idx="325">
                  <c:v>15-XI.</c:v>
                </c:pt>
                <c:pt idx="326">
                  <c:v>16-XI.</c:v>
                </c:pt>
                <c:pt idx="327">
                  <c:v>17-XI.</c:v>
                </c:pt>
                <c:pt idx="328">
                  <c:v>18-XI.</c:v>
                </c:pt>
                <c:pt idx="329">
                  <c:v>19-XI.</c:v>
                </c:pt>
                <c:pt idx="330">
                  <c:v>20-XI.</c:v>
                </c:pt>
                <c:pt idx="331">
                  <c:v>21-XI.</c:v>
                </c:pt>
                <c:pt idx="332">
                  <c:v>22-XI.</c:v>
                </c:pt>
                <c:pt idx="333">
                  <c:v>23-XI.</c:v>
                </c:pt>
                <c:pt idx="334">
                  <c:v>24-XI.</c:v>
                </c:pt>
                <c:pt idx="335">
                  <c:v>25-XI.</c:v>
                </c:pt>
                <c:pt idx="336">
                  <c:v>26-XI.</c:v>
                </c:pt>
                <c:pt idx="337">
                  <c:v>27-XI.</c:v>
                </c:pt>
                <c:pt idx="338">
                  <c:v>28-XI.</c:v>
                </c:pt>
                <c:pt idx="339">
                  <c:v>29-XI.</c:v>
                </c:pt>
                <c:pt idx="340">
                  <c:v>30-XI.</c:v>
                </c:pt>
                <c:pt idx="341">
                  <c:v>1-XII.</c:v>
                </c:pt>
                <c:pt idx="342">
                  <c:v>2-XII.</c:v>
                </c:pt>
                <c:pt idx="343">
                  <c:v>3-XII.</c:v>
                </c:pt>
                <c:pt idx="344">
                  <c:v>4-XII.</c:v>
                </c:pt>
                <c:pt idx="345">
                  <c:v>5-XII.</c:v>
                </c:pt>
                <c:pt idx="346">
                  <c:v>6-XII.</c:v>
                </c:pt>
                <c:pt idx="347">
                  <c:v>7-XII.</c:v>
                </c:pt>
                <c:pt idx="348">
                  <c:v>8-XII.</c:v>
                </c:pt>
                <c:pt idx="349">
                  <c:v>9-XII.</c:v>
                </c:pt>
                <c:pt idx="350">
                  <c:v>10-XII.</c:v>
                </c:pt>
                <c:pt idx="351">
                  <c:v>11-XII.</c:v>
                </c:pt>
                <c:pt idx="352">
                  <c:v>12-XII.</c:v>
                </c:pt>
                <c:pt idx="353">
                  <c:v>13-XII.</c:v>
                </c:pt>
                <c:pt idx="354">
                  <c:v>14-XII.</c:v>
                </c:pt>
                <c:pt idx="355">
                  <c:v>15-XII.</c:v>
                </c:pt>
                <c:pt idx="356">
                  <c:v>16-XII.</c:v>
                </c:pt>
                <c:pt idx="357">
                  <c:v>17-XII.</c:v>
                </c:pt>
              </c:strCache>
            </c:strRef>
          </c:cat>
          <c:val>
            <c:numRef>
              <c:f>List1!$G$2:$MZ$2</c:f>
              <c:numCache>
                <c:formatCode>General</c:formatCode>
                <c:ptCount val="358"/>
                <c:pt idx="2">
                  <c:v>1051</c:v>
                </c:pt>
                <c:pt idx="3">
                  <c:v>2944</c:v>
                </c:pt>
                <c:pt idx="4">
                  <c:v>5611</c:v>
                </c:pt>
                <c:pt idx="5">
                  <c:v>8313</c:v>
                </c:pt>
                <c:pt idx="6">
                  <c:v>9205</c:v>
                </c:pt>
                <c:pt idx="7">
                  <c:v>9442</c:v>
                </c:pt>
                <c:pt idx="8">
                  <c:v>10603</c:v>
                </c:pt>
                <c:pt idx="9">
                  <c:v>11445</c:v>
                </c:pt>
                <c:pt idx="10">
                  <c:v>14616</c:v>
                </c:pt>
                <c:pt idx="11">
                  <c:v>18537</c:v>
                </c:pt>
                <c:pt idx="12">
                  <c:v>23463</c:v>
                </c:pt>
                <c:pt idx="13">
                  <c:v>29297</c:v>
                </c:pt>
                <c:pt idx="14">
                  <c:v>36087</c:v>
                </c:pt>
                <c:pt idx="15">
                  <c:v>37251</c:v>
                </c:pt>
                <c:pt idx="16">
                  <c:v>38207</c:v>
                </c:pt>
                <c:pt idx="17">
                  <c:v>44623</c:v>
                </c:pt>
                <c:pt idx="18">
                  <c:v>52048</c:v>
                </c:pt>
                <c:pt idx="19">
                  <c:v>58658</c:v>
                </c:pt>
                <c:pt idx="20">
                  <c:v>65642</c:v>
                </c:pt>
                <c:pt idx="21">
                  <c:v>71840</c:v>
                </c:pt>
                <c:pt idx="22">
                  <c:v>72776</c:v>
                </c:pt>
                <c:pt idx="23">
                  <c:v>73325</c:v>
                </c:pt>
                <c:pt idx="24">
                  <c:v>78015</c:v>
                </c:pt>
                <c:pt idx="25">
                  <c:v>81819</c:v>
                </c:pt>
                <c:pt idx="26">
                  <c:v>85536</c:v>
                </c:pt>
                <c:pt idx="27">
                  <c:v>88926</c:v>
                </c:pt>
                <c:pt idx="28">
                  <c:v>91817</c:v>
                </c:pt>
                <c:pt idx="29">
                  <c:v>92207</c:v>
                </c:pt>
                <c:pt idx="30">
                  <c:v>92442</c:v>
                </c:pt>
                <c:pt idx="31">
                  <c:v>94048</c:v>
                </c:pt>
                <c:pt idx="32">
                  <c:v>95816</c:v>
                </c:pt>
                <c:pt idx="33">
                  <c:v>97265</c:v>
                </c:pt>
                <c:pt idx="34">
                  <c:v>98654</c:v>
                </c:pt>
                <c:pt idx="35">
                  <c:v>99933</c:v>
                </c:pt>
                <c:pt idx="36">
                  <c:v>100004</c:v>
                </c:pt>
                <c:pt idx="37">
                  <c:v>100075</c:v>
                </c:pt>
                <c:pt idx="38">
                  <c:v>100970</c:v>
                </c:pt>
                <c:pt idx="39">
                  <c:v>101838</c:v>
                </c:pt>
                <c:pt idx="40">
                  <c:v>102655</c:v>
                </c:pt>
                <c:pt idx="41">
                  <c:v>103364</c:v>
                </c:pt>
                <c:pt idx="42">
                  <c:v>104292</c:v>
                </c:pt>
                <c:pt idx="43">
                  <c:v>104342</c:v>
                </c:pt>
                <c:pt idx="44">
                  <c:v>104393</c:v>
                </c:pt>
                <c:pt idx="45">
                  <c:v>105035</c:v>
                </c:pt>
                <c:pt idx="46">
                  <c:v>105690</c:v>
                </c:pt>
                <c:pt idx="47">
                  <c:v>106555</c:v>
                </c:pt>
                <c:pt idx="48">
                  <c:v>107610</c:v>
                </c:pt>
                <c:pt idx="49">
                  <c:v>108813</c:v>
                </c:pt>
                <c:pt idx="50">
                  <c:v>109197</c:v>
                </c:pt>
                <c:pt idx="51">
                  <c:v>109382</c:v>
                </c:pt>
                <c:pt idx="52">
                  <c:v>110704</c:v>
                </c:pt>
                <c:pt idx="53">
                  <c:v>111998</c:v>
                </c:pt>
                <c:pt idx="54">
                  <c:v>113374</c:v>
                </c:pt>
                <c:pt idx="55">
                  <c:v>114939</c:v>
                </c:pt>
                <c:pt idx="56">
                  <c:v>116798</c:v>
                </c:pt>
                <c:pt idx="57">
                  <c:v>117258</c:v>
                </c:pt>
                <c:pt idx="58">
                  <c:v>117421</c:v>
                </c:pt>
                <c:pt idx="59">
                  <c:v>119015</c:v>
                </c:pt>
                <c:pt idx="60">
                  <c:v>121312</c:v>
                </c:pt>
                <c:pt idx="61">
                  <c:v>123810</c:v>
                </c:pt>
                <c:pt idx="62">
                  <c:v>126838</c:v>
                </c:pt>
                <c:pt idx="63">
                  <c:v>129447</c:v>
                </c:pt>
                <c:pt idx="64">
                  <c:v>129756</c:v>
                </c:pt>
                <c:pt idx="65">
                  <c:v>129976</c:v>
                </c:pt>
                <c:pt idx="66">
                  <c:v>132526</c:v>
                </c:pt>
                <c:pt idx="67">
                  <c:v>135285</c:v>
                </c:pt>
                <c:pt idx="68">
                  <c:v>137951</c:v>
                </c:pt>
                <c:pt idx="69">
                  <c:v>140406</c:v>
                </c:pt>
                <c:pt idx="70">
                  <c:v>143373</c:v>
                </c:pt>
                <c:pt idx="71">
                  <c:v>144077</c:v>
                </c:pt>
                <c:pt idx="72">
                  <c:v>144590</c:v>
                </c:pt>
                <c:pt idx="73">
                  <c:v>146537</c:v>
                </c:pt>
                <c:pt idx="74">
                  <c:v>148682</c:v>
                </c:pt>
                <c:pt idx="75">
                  <c:v>150931</c:v>
                </c:pt>
                <c:pt idx="76">
                  <c:v>153934</c:v>
                </c:pt>
                <c:pt idx="77">
                  <c:v>156554</c:v>
                </c:pt>
                <c:pt idx="78">
                  <c:v>157213</c:v>
                </c:pt>
                <c:pt idx="79">
                  <c:v>157782</c:v>
                </c:pt>
                <c:pt idx="80">
                  <c:v>159371</c:v>
                </c:pt>
                <c:pt idx="81">
                  <c:v>161705</c:v>
                </c:pt>
                <c:pt idx="82">
                  <c:v>164022</c:v>
                </c:pt>
                <c:pt idx="83">
                  <c:v>166050</c:v>
                </c:pt>
                <c:pt idx="84">
                  <c:v>168313</c:v>
                </c:pt>
                <c:pt idx="85">
                  <c:v>169188</c:v>
                </c:pt>
                <c:pt idx="86">
                  <c:v>169636</c:v>
                </c:pt>
                <c:pt idx="87">
                  <c:v>170789</c:v>
                </c:pt>
                <c:pt idx="88">
                  <c:v>172029</c:v>
                </c:pt>
                <c:pt idx="89">
                  <c:v>173097</c:v>
                </c:pt>
                <c:pt idx="90">
                  <c:v>174397</c:v>
                </c:pt>
                <c:pt idx="91">
                  <c:v>175774</c:v>
                </c:pt>
                <c:pt idx="92">
                  <c:v>176149</c:v>
                </c:pt>
                <c:pt idx="93">
                  <c:v>176494</c:v>
                </c:pt>
                <c:pt idx="94">
                  <c:v>177278</c:v>
                </c:pt>
                <c:pt idx="95">
                  <c:v>178305</c:v>
                </c:pt>
                <c:pt idx="96">
                  <c:v>179429</c:v>
                </c:pt>
                <c:pt idx="97">
                  <c:v>180532</c:v>
                </c:pt>
                <c:pt idx="98">
                  <c:v>180801</c:v>
                </c:pt>
                <c:pt idx="99">
                  <c:v>180921</c:v>
                </c:pt>
                <c:pt idx="100">
                  <c:v>181037</c:v>
                </c:pt>
                <c:pt idx="101">
                  <c:v>181109</c:v>
                </c:pt>
                <c:pt idx="102">
                  <c:v>181675</c:v>
                </c:pt>
                <c:pt idx="103">
                  <c:v>182348</c:v>
                </c:pt>
                <c:pt idx="104">
                  <c:v>183594</c:v>
                </c:pt>
                <c:pt idx="105">
                  <c:v>184869</c:v>
                </c:pt>
                <c:pt idx="106">
                  <c:v>185245</c:v>
                </c:pt>
                <c:pt idx="107">
                  <c:v>185493</c:v>
                </c:pt>
                <c:pt idx="108">
                  <c:v>186431</c:v>
                </c:pt>
                <c:pt idx="109">
                  <c:v>187244</c:v>
                </c:pt>
                <c:pt idx="110">
                  <c:v>188189</c:v>
                </c:pt>
                <c:pt idx="111">
                  <c:v>189555</c:v>
                </c:pt>
                <c:pt idx="112">
                  <c:v>191104</c:v>
                </c:pt>
                <c:pt idx="113">
                  <c:v>191525</c:v>
                </c:pt>
                <c:pt idx="114">
                  <c:v>191966</c:v>
                </c:pt>
                <c:pt idx="115">
                  <c:v>193069</c:v>
                </c:pt>
                <c:pt idx="116">
                  <c:v>194118</c:v>
                </c:pt>
                <c:pt idx="117">
                  <c:v>195408</c:v>
                </c:pt>
                <c:pt idx="118">
                  <c:v>196880</c:v>
                </c:pt>
                <c:pt idx="119">
                  <c:v>198397</c:v>
                </c:pt>
                <c:pt idx="120">
                  <c:v>198838</c:v>
                </c:pt>
                <c:pt idx="121">
                  <c:v>199214</c:v>
                </c:pt>
                <c:pt idx="122">
                  <c:v>200416</c:v>
                </c:pt>
                <c:pt idx="123">
                  <c:v>201507</c:v>
                </c:pt>
                <c:pt idx="124">
                  <c:v>202899</c:v>
                </c:pt>
                <c:pt idx="125">
                  <c:v>204373</c:v>
                </c:pt>
                <c:pt idx="126">
                  <c:v>205775</c:v>
                </c:pt>
                <c:pt idx="127">
                  <c:v>206112</c:v>
                </c:pt>
                <c:pt idx="128">
                  <c:v>206451</c:v>
                </c:pt>
                <c:pt idx="129">
                  <c:v>207535</c:v>
                </c:pt>
                <c:pt idx="130">
                  <c:v>208637</c:v>
                </c:pt>
                <c:pt idx="131">
                  <c:v>209784</c:v>
                </c:pt>
                <c:pt idx="132">
                  <c:v>210979</c:v>
                </c:pt>
                <c:pt idx="133">
                  <c:v>212285</c:v>
                </c:pt>
                <c:pt idx="134">
                  <c:v>212788</c:v>
                </c:pt>
                <c:pt idx="135">
                  <c:v>213098</c:v>
                </c:pt>
                <c:pt idx="136">
                  <c:v>214071</c:v>
                </c:pt>
                <c:pt idx="137">
                  <c:v>215098</c:v>
                </c:pt>
                <c:pt idx="138">
                  <c:v>216140</c:v>
                </c:pt>
                <c:pt idx="139">
                  <c:v>217280</c:v>
                </c:pt>
                <c:pt idx="140">
                  <c:v>218284</c:v>
                </c:pt>
                <c:pt idx="141">
                  <c:v>218727</c:v>
                </c:pt>
                <c:pt idx="142">
                  <c:v>219014</c:v>
                </c:pt>
                <c:pt idx="143">
                  <c:v>219803</c:v>
                </c:pt>
                <c:pt idx="144">
                  <c:v>220686</c:v>
                </c:pt>
                <c:pt idx="145">
                  <c:v>221595</c:v>
                </c:pt>
                <c:pt idx="146">
                  <c:v>222530</c:v>
                </c:pt>
                <c:pt idx="147">
                  <c:v>223456</c:v>
                </c:pt>
                <c:pt idx="148">
                  <c:v>223810</c:v>
                </c:pt>
                <c:pt idx="149">
                  <c:v>224038</c:v>
                </c:pt>
                <c:pt idx="150">
                  <c:v>224589</c:v>
                </c:pt>
                <c:pt idx="151">
                  <c:v>225218</c:v>
                </c:pt>
                <c:pt idx="152">
                  <c:v>226072</c:v>
                </c:pt>
                <c:pt idx="153">
                  <c:v>226858</c:v>
                </c:pt>
                <c:pt idx="154">
                  <c:v>227685</c:v>
                </c:pt>
                <c:pt idx="155">
                  <c:v>228052</c:v>
                </c:pt>
                <c:pt idx="156">
                  <c:v>228343</c:v>
                </c:pt>
                <c:pt idx="157">
                  <c:v>229037</c:v>
                </c:pt>
                <c:pt idx="158">
                  <c:v>229762</c:v>
                </c:pt>
                <c:pt idx="159">
                  <c:v>230653</c:v>
                </c:pt>
                <c:pt idx="160">
                  <c:v>231493</c:v>
                </c:pt>
                <c:pt idx="161">
                  <c:v>232382</c:v>
                </c:pt>
                <c:pt idx="162">
                  <c:v>232806</c:v>
                </c:pt>
                <c:pt idx="163">
                  <c:v>233212</c:v>
                </c:pt>
                <c:pt idx="164">
                  <c:v>234110</c:v>
                </c:pt>
                <c:pt idx="165">
                  <c:v>235094</c:v>
                </c:pt>
                <c:pt idx="166">
                  <c:v>236019</c:v>
                </c:pt>
                <c:pt idx="167">
                  <c:v>236897</c:v>
                </c:pt>
                <c:pt idx="168">
                  <c:v>237756</c:v>
                </c:pt>
                <c:pt idx="169">
                  <c:v>238283</c:v>
                </c:pt>
                <c:pt idx="170">
                  <c:v>238658</c:v>
                </c:pt>
                <c:pt idx="171">
                  <c:v>239328</c:v>
                </c:pt>
                <c:pt idx="172">
                  <c:v>240090</c:v>
                </c:pt>
                <c:pt idx="173">
                  <c:v>240795</c:v>
                </c:pt>
                <c:pt idx="174">
                  <c:v>241509</c:v>
                </c:pt>
                <c:pt idx="175">
                  <c:v>242185</c:v>
                </c:pt>
                <c:pt idx="176">
                  <c:v>242520</c:v>
                </c:pt>
                <c:pt idx="177">
                  <c:v>242780</c:v>
                </c:pt>
                <c:pt idx="178">
                  <c:v>243293</c:v>
                </c:pt>
                <c:pt idx="179">
                  <c:v>243882</c:v>
                </c:pt>
                <c:pt idx="180">
                  <c:v>244381</c:v>
                </c:pt>
                <c:pt idx="181">
                  <c:v>244884</c:v>
                </c:pt>
                <c:pt idx="182">
                  <c:v>245386</c:v>
                </c:pt>
                <c:pt idx="183">
                  <c:v>245643</c:v>
                </c:pt>
                <c:pt idx="184">
                  <c:v>245835</c:v>
                </c:pt>
                <c:pt idx="185">
                  <c:v>246333</c:v>
                </c:pt>
                <c:pt idx="186">
                  <c:v>246796</c:v>
                </c:pt>
                <c:pt idx="187">
                  <c:v>247278</c:v>
                </c:pt>
                <c:pt idx="188">
                  <c:v>247640</c:v>
                </c:pt>
                <c:pt idx="189">
                  <c:v>248125</c:v>
                </c:pt>
                <c:pt idx="190">
                  <c:v>248223</c:v>
                </c:pt>
                <c:pt idx="191">
                  <c:v>248340</c:v>
                </c:pt>
                <c:pt idx="192">
                  <c:v>248452</c:v>
                </c:pt>
                <c:pt idx="193">
                  <c:v>248554</c:v>
                </c:pt>
                <c:pt idx="194">
                  <c:v>248969</c:v>
                </c:pt>
                <c:pt idx="195">
                  <c:v>249420</c:v>
                </c:pt>
                <c:pt idx="196">
                  <c:v>249864</c:v>
                </c:pt>
                <c:pt idx="197">
                  <c:v>250032</c:v>
                </c:pt>
                <c:pt idx="198">
                  <c:v>250153</c:v>
                </c:pt>
                <c:pt idx="199">
                  <c:v>250598</c:v>
                </c:pt>
                <c:pt idx="200">
                  <c:v>251046</c:v>
                </c:pt>
                <c:pt idx="201">
                  <c:v>251536</c:v>
                </c:pt>
                <c:pt idx="202">
                  <c:v>252033</c:v>
                </c:pt>
                <c:pt idx="203">
                  <c:v>252523</c:v>
                </c:pt>
                <c:pt idx="204">
                  <c:v>252704</c:v>
                </c:pt>
                <c:pt idx="205">
                  <c:v>252850</c:v>
                </c:pt>
                <c:pt idx="206">
                  <c:v>253271</c:v>
                </c:pt>
                <c:pt idx="207">
                  <c:v>253626</c:v>
                </c:pt>
                <c:pt idx="208">
                  <c:v>254095</c:v>
                </c:pt>
                <c:pt idx="209">
                  <c:v>254492</c:v>
                </c:pt>
                <c:pt idx="210">
                  <c:v>254885</c:v>
                </c:pt>
                <c:pt idx="211">
                  <c:v>254997</c:v>
                </c:pt>
                <c:pt idx="212">
                  <c:v>255087</c:v>
                </c:pt>
                <c:pt idx="213">
                  <c:v>255475</c:v>
                </c:pt>
                <c:pt idx="214">
                  <c:v>255897</c:v>
                </c:pt>
                <c:pt idx="215">
                  <c:v>256259</c:v>
                </c:pt>
                <c:pt idx="216">
                  <c:v>256594</c:v>
                </c:pt>
                <c:pt idx="217">
                  <c:v>257016</c:v>
                </c:pt>
                <c:pt idx="218">
                  <c:v>257138</c:v>
                </c:pt>
                <c:pt idx="219">
                  <c:v>257240</c:v>
                </c:pt>
                <c:pt idx="220">
                  <c:v>257523</c:v>
                </c:pt>
                <c:pt idx="221">
                  <c:v>257791</c:v>
                </c:pt>
                <c:pt idx="222">
                  <c:v>258104</c:v>
                </c:pt>
                <c:pt idx="223">
                  <c:v>258370</c:v>
                </c:pt>
                <c:pt idx="224">
                  <c:v>258652</c:v>
                </c:pt>
                <c:pt idx="225">
                  <c:v>258725</c:v>
                </c:pt>
                <c:pt idx="226">
                  <c:v>258789</c:v>
                </c:pt>
                <c:pt idx="227">
                  <c:v>259000</c:v>
                </c:pt>
                <c:pt idx="228">
                  <c:v>259210</c:v>
                </c:pt>
                <c:pt idx="229">
                  <c:v>259373</c:v>
                </c:pt>
                <c:pt idx="230">
                  <c:v>259607</c:v>
                </c:pt>
                <c:pt idx="231">
                  <c:v>259799</c:v>
                </c:pt>
                <c:pt idx="232">
                  <c:v>259856</c:v>
                </c:pt>
                <c:pt idx="233">
                  <c:v>259902</c:v>
                </c:pt>
                <c:pt idx="234">
                  <c:v>260086</c:v>
                </c:pt>
                <c:pt idx="235">
                  <c:v>260268</c:v>
                </c:pt>
                <c:pt idx="236">
                  <c:v>260435</c:v>
                </c:pt>
                <c:pt idx="237">
                  <c:v>260599</c:v>
                </c:pt>
                <c:pt idx="238">
                  <c:v>260846</c:v>
                </c:pt>
                <c:pt idx="239">
                  <c:v>260888</c:v>
                </c:pt>
                <c:pt idx="240">
                  <c:v>260921</c:v>
                </c:pt>
                <c:pt idx="241">
                  <c:v>261122</c:v>
                </c:pt>
                <c:pt idx="242">
                  <c:v>261314</c:v>
                </c:pt>
                <c:pt idx="243">
                  <c:v>261481</c:v>
                </c:pt>
                <c:pt idx="244">
                  <c:v>261643</c:v>
                </c:pt>
                <c:pt idx="245">
                  <c:v>261861</c:v>
                </c:pt>
                <c:pt idx="246">
                  <c:v>261906</c:v>
                </c:pt>
                <c:pt idx="247">
                  <c:v>261939</c:v>
                </c:pt>
                <c:pt idx="248">
                  <c:v>262111</c:v>
                </c:pt>
                <c:pt idx="249">
                  <c:v>262276</c:v>
                </c:pt>
                <c:pt idx="250">
                  <c:v>262400</c:v>
                </c:pt>
                <c:pt idx="251">
                  <c:v>262576</c:v>
                </c:pt>
                <c:pt idx="252">
                  <c:v>262772</c:v>
                </c:pt>
                <c:pt idx="253">
                  <c:v>262807</c:v>
                </c:pt>
                <c:pt idx="254">
                  <c:v>262840</c:v>
                </c:pt>
                <c:pt idx="255">
                  <c:v>262976</c:v>
                </c:pt>
                <c:pt idx="256">
                  <c:v>263066</c:v>
                </c:pt>
                <c:pt idx="257">
                  <c:v>263190</c:v>
                </c:pt>
                <c:pt idx="258">
                  <c:v>263332</c:v>
                </c:pt>
                <c:pt idx="259">
                  <c:v>263478</c:v>
                </c:pt>
                <c:pt idx="260">
                  <c:v>263513</c:v>
                </c:pt>
                <c:pt idx="261">
                  <c:v>263536</c:v>
                </c:pt>
                <c:pt idx="262">
                  <c:v>263647</c:v>
                </c:pt>
                <c:pt idx="263">
                  <c:v>263779</c:v>
                </c:pt>
                <c:pt idx="264">
                  <c:v>263886</c:v>
                </c:pt>
                <c:pt idx="265">
                  <c:v>264007</c:v>
                </c:pt>
                <c:pt idx="266">
                  <c:v>264172</c:v>
                </c:pt>
                <c:pt idx="267">
                  <c:v>264213</c:v>
                </c:pt>
                <c:pt idx="268">
                  <c:v>264226</c:v>
                </c:pt>
                <c:pt idx="269">
                  <c:v>264328</c:v>
                </c:pt>
                <c:pt idx="270">
                  <c:v>264432</c:v>
                </c:pt>
                <c:pt idx="271">
                  <c:v>264527</c:v>
                </c:pt>
                <c:pt idx="272">
                  <c:v>264661</c:v>
                </c:pt>
                <c:pt idx="273">
                  <c:v>264828</c:v>
                </c:pt>
                <c:pt idx="274">
                  <c:v>264860</c:v>
                </c:pt>
                <c:pt idx="275">
                  <c:v>264870</c:v>
                </c:pt>
                <c:pt idx="276">
                  <c:v>264967</c:v>
                </c:pt>
                <c:pt idx="277">
                  <c:v>264975</c:v>
                </c:pt>
                <c:pt idx="278">
                  <c:v>265060</c:v>
                </c:pt>
                <c:pt idx="279">
                  <c:v>265160</c:v>
                </c:pt>
                <c:pt idx="280">
                  <c:v>265252</c:v>
                </c:pt>
                <c:pt idx="281">
                  <c:v>265273</c:v>
                </c:pt>
                <c:pt idx="282">
                  <c:v>265287</c:v>
                </c:pt>
                <c:pt idx="283">
                  <c:v>265355</c:v>
                </c:pt>
                <c:pt idx="284">
                  <c:v>265437</c:v>
                </c:pt>
                <c:pt idx="285">
                  <c:v>265536</c:v>
                </c:pt>
                <c:pt idx="286">
                  <c:v>265606</c:v>
                </c:pt>
                <c:pt idx="287">
                  <c:v>265719</c:v>
                </c:pt>
                <c:pt idx="288">
                  <c:v>265744</c:v>
                </c:pt>
                <c:pt idx="289">
                  <c:v>265756</c:v>
                </c:pt>
                <c:pt idx="290">
                  <c:v>265833</c:v>
                </c:pt>
                <c:pt idx="291">
                  <c:v>265918</c:v>
                </c:pt>
                <c:pt idx="292">
                  <c:v>265999</c:v>
                </c:pt>
                <c:pt idx="293">
                  <c:v>266067</c:v>
                </c:pt>
                <c:pt idx="294">
                  <c:v>266187</c:v>
                </c:pt>
                <c:pt idx="295">
                  <c:v>266218</c:v>
                </c:pt>
                <c:pt idx="296">
                  <c:v>266248</c:v>
                </c:pt>
                <c:pt idx="297">
                  <c:v>266379</c:v>
                </c:pt>
                <c:pt idx="298">
                  <c:v>266474</c:v>
                </c:pt>
                <c:pt idx="299">
                  <c:v>266606</c:v>
                </c:pt>
                <c:pt idx="300">
                  <c:v>266845</c:v>
                </c:pt>
                <c:pt idx="301">
                  <c:v>267151</c:v>
                </c:pt>
                <c:pt idx="302">
                  <c:v>267234</c:v>
                </c:pt>
                <c:pt idx="303">
                  <c:v>267298</c:v>
                </c:pt>
                <c:pt idx="304">
                  <c:v>267561</c:v>
                </c:pt>
                <c:pt idx="305">
                  <c:v>267922</c:v>
                </c:pt>
                <c:pt idx="306">
                  <c:v>268340</c:v>
                </c:pt>
                <c:pt idx="307">
                  <c:v>268423</c:v>
                </c:pt>
                <c:pt idx="308">
                  <c:v>268801</c:v>
                </c:pt>
                <c:pt idx="309">
                  <c:v>268909</c:v>
                </c:pt>
                <c:pt idx="310">
                  <c:v>268979</c:v>
                </c:pt>
                <c:pt idx="311">
                  <c:v>269395</c:v>
                </c:pt>
                <c:pt idx="312">
                  <c:v>269812</c:v>
                </c:pt>
                <c:pt idx="313">
                  <c:v>270228</c:v>
                </c:pt>
                <c:pt idx="314">
                  <c:v>270729</c:v>
                </c:pt>
                <c:pt idx="315">
                  <c:v>271291</c:v>
                </c:pt>
                <c:pt idx="316">
                  <c:v>271446</c:v>
                </c:pt>
                <c:pt idx="317">
                  <c:v>271543</c:v>
                </c:pt>
                <c:pt idx="318">
                  <c:v>271941</c:v>
                </c:pt>
                <c:pt idx="319">
                  <c:v>272279</c:v>
                </c:pt>
                <c:pt idx="320">
                  <c:v>272664</c:v>
                </c:pt>
                <c:pt idx="321">
                  <c:v>273062</c:v>
                </c:pt>
                <c:pt idx="322">
                  <c:v>273596</c:v>
                </c:pt>
                <c:pt idx="323">
                  <c:v>273720</c:v>
                </c:pt>
                <c:pt idx="324">
                  <c:v>273806</c:v>
                </c:pt>
                <c:pt idx="325">
                  <c:v>274226</c:v>
                </c:pt>
                <c:pt idx="326">
                  <c:v>274694</c:v>
                </c:pt>
                <c:pt idx="327">
                  <c:v>274799</c:v>
                </c:pt>
                <c:pt idx="328">
                  <c:v>275305</c:v>
                </c:pt>
                <c:pt idx="329">
                  <c:v>275929</c:v>
                </c:pt>
                <c:pt idx="330">
                  <c:v>276124</c:v>
                </c:pt>
                <c:pt idx="331">
                  <c:v>276265</c:v>
                </c:pt>
                <c:pt idx="332">
                  <c:v>276679</c:v>
                </c:pt>
                <c:pt idx="333">
                  <c:v>277103</c:v>
                </c:pt>
                <c:pt idx="334">
                  <c:v>277563</c:v>
                </c:pt>
                <c:pt idx="335">
                  <c:v>278039</c:v>
                </c:pt>
                <c:pt idx="336">
                  <c:v>278556</c:v>
                </c:pt>
                <c:pt idx="337">
                  <c:v>278705</c:v>
                </c:pt>
                <c:pt idx="338">
                  <c:v>278756</c:v>
                </c:pt>
                <c:pt idx="339">
                  <c:v>279102</c:v>
                </c:pt>
                <c:pt idx="340">
                  <c:v>279432</c:v>
                </c:pt>
                <c:pt idx="341">
                  <c:v>279776</c:v>
                </c:pt>
                <c:pt idx="342">
                  <c:v>280030</c:v>
                </c:pt>
                <c:pt idx="343">
                  <c:v>280289</c:v>
                </c:pt>
                <c:pt idx="344">
                  <c:v>280340</c:v>
                </c:pt>
                <c:pt idx="345">
                  <c:v>280360</c:v>
                </c:pt>
                <c:pt idx="346">
                  <c:v>280552</c:v>
                </c:pt>
                <c:pt idx="347">
                  <c:v>280728</c:v>
                </c:pt>
                <c:pt idx="348">
                  <c:v>280937</c:v>
                </c:pt>
                <c:pt idx="349">
                  <c:v>281108</c:v>
                </c:pt>
                <c:pt idx="350">
                  <c:v>281295</c:v>
                </c:pt>
                <c:pt idx="351">
                  <c:v>281332</c:v>
                </c:pt>
                <c:pt idx="352">
                  <c:v>281359</c:v>
                </c:pt>
                <c:pt idx="353">
                  <c:v>281532</c:v>
                </c:pt>
                <c:pt idx="354">
                  <c:v>281679</c:v>
                </c:pt>
                <c:pt idx="355">
                  <c:v>281816</c:v>
                </c:pt>
                <c:pt idx="356">
                  <c:v>281986</c:v>
                </c:pt>
                <c:pt idx="357">
                  <c:v>2821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G$1:$MZ$1</c:f>
              <c:strCache>
                <c:ptCount val="358"/>
                <c:pt idx="0">
                  <c:v>25-XII.</c:v>
                </c:pt>
                <c:pt idx="1">
                  <c:v>26-XII.</c:v>
                </c:pt>
                <c:pt idx="2">
                  <c:v>27-XII.</c:v>
                </c:pt>
                <c:pt idx="3">
                  <c:v>28-XII.</c:v>
                </c:pt>
                <c:pt idx="4">
                  <c:v>29-XII.</c:v>
                </c:pt>
                <c:pt idx="5">
                  <c:v>30-XII.</c:v>
                </c:pt>
                <c:pt idx="6">
                  <c:v>31-XII.</c:v>
                </c:pt>
                <c:pt idx="7">
                  <c:v>1-I.</c:v>
                </c:pt>
                <c:pt idx="8">
                  <c:v>2-I.</c:v>
                </c:pt>
                <c:pt idx="9">
                  <c:v>3-I.</c:v>
                </c:pt>
                <c:pt idx="10">
                  <c:v>4-I.</c:v>
                </c:pt>
                <c:pt idx="11">
                  <c:v>5-I.</c:v>
                </c:pt>
                <c:pt idx="12">
                  <c:v>6-I.</c:v>
                </c:pt>
                <c:pt idx="13">
                  <c:v>7-I.</c:v>
                </c:pt>
                <c:pt idx="14">
                  <c:v>8-I.</c:v>
                </c:pt>
                <c:pt idx="15">
                  <c:v>9-I.</c:v>
                </c:pt>
                <c:pt idx="16">
                  <c:v>10-I.</c:v>
                </c:pt>
                <c:pt idx="17">
                  <c:v>11-I.</c:v>
                </c:pt>
                <c:pt idx="18">
                  <c:v>12-I.</c:v>
                </c:pt>
                <c:pt idx="19">
                  <c:v>13-I.</c:v>
                </c:pt>
                <c:pt idx="20">
                  <c:v>14-I.</c:v>
                </c:pt>
                <c:pt idx="21">
                  <c:v>15-I.</c:v>
                </c:pt>
                <c:pt idx="22">
                  <c:v>16-I.</c:v>
                </c:pt>
                <c:pt idx="23">
                  <c:v>17-I.</c:v>
                </c:pt>
                <c:pt idx="24">
                  <c:v>18-I.</c:v>
                </c:pt>
                <c:pt idx="25">
                  <c:v>19-I.</c:v>
                </c:pt>
                <c:pt idx="26">
                  <c:v>20-I.</c:v>
                </c:pt>
                <c:pt idx="27">
                  <c:v>21-I.</c:v>
                </c:pt>
                <c:pt idx="28">
                  <c:v>22-I.</c:v>
                </c:pt>
                <c:pt idx="29">
                  <c:v>23-I.</c:v>
                </c:pt>
                <c:pt idx="30">
                  <c:v>24-I.</c:v>
                </c:pt>
                <c:pt idx="31">
                  <c:v>25-I.</c:v>
                </c:pt>
                <c:pt idx="32">
                  <c:v>26-I.</c:v>
                </c:pt>
                <c:pt idx="33">
                  <c:v>27-I.</c:v>
                </c:pt>
                <c:pt idx="34">
                  <c:v>28-I.</c:v>
                </c:pt>
                <c:pt idx="35">
                  <c:v>29-I.</c:v>
                </c:pt>
                <c:pt idx="36">
                  <c:v>30-I.</c:v>
                </c:pt>
                <c:pt idx="37">
                  <c:v>31-I.</c:v>
                </c:pt>
                <c:pt idx="38">
                  <c:v>1-II.</c:v>
                </c:pt>
                <c:pt idx="39">
                  <c:v>2-II.</c:v>
                </c:pt>
                <c:pt idx="40">
                  <c:v>3-II.</c:v>
                </c:pt>
                <c:pt idx="41">
                  <c:v>4-II.</c:v>
                </c:pt>
                <c:pt idx="42">
                  <c:v>5-II.</c:v>
                </c:pt>
                <c:pt idx="43">
                  <c:v>6-II.</c:v>
                </c:pt>
                <c:pt idx="44">
                  <c:v>7-II.</c:v>
                </c:pt>
                <c:pt idx="45">
                  <c:v>8-II.</c:v>
                </c:pt>
                <c:pt idx="46">
                  <c:v>9-II.</c:v>
                </c:pt>
                <c:pt idx="47">
                  <c:v>10-II.</c:v>
                </c:pt>
                <c:pt idx="48">
                  <c:v>11-II.</c:v>
                </c:pt>
                <c:pt idx="49">
                  <c:v>12-II.</c:v>
                </c:pt>
                <c:pt idx="50">
                  <c:v>13-II.</c:v>
                </c:pt>
                <c:pt idx="51">
                  <c:v>14-II.</c:v>
                </c:pt>
                <c:pt idx="52">
                  <c:v>15-II.</c:v>
                </c:pt>
                <c:pt idx="53">
                  <c:v>16-II.</c:v>
                </c:pt>
                <c:pt idx="54">
                  <c:v>17-II.</c:v>
                </c:pt>
                <c:pt idx="55">
                  <c:v>18-II.</c:v>
                </c:pt>
                <c:pt idx="56">
                  <c:v>19-II.</c:v>
                </c:pt>
                <c:pt idx="57">
                  <c:v>20-II.</c:v>
                </c:pt>
                <c:pt idx="58">
                  <c:v>21-II.</c:v>
                </c:pt>
                <c:pt idx="59">
                  <c:v>22-II.</c:v>
                </c:pt>
                <c:pt idx="60">
                  <c:v>23-II.</c:v>
                </c:pt>
                <c:pt idx="61">
                  <c:v>24-II.</c:v>
                </c:pt>
                <c:pt idx="62">
                  <c:v>25-II.</c:v>
                </c:pt>
                <c:pt idx="63">
                  <c:v>26-II.</c:v>
                </c:pt>
                <c:pt idx="64">
                  <c:v>27-II.</c:v>
                </c:pt>
                <c:pt idx="65">
                  <c:v>28-II.</c:v>
                </c:pt>
                <c:pt idx="66">
                  <c:v>1-III.</c:v>
                </c:pt>
                <c:pt idx="67">
                  <c:v>2-III.</c:v>
                </c:pt>
                <c:pt idx="68">
                  <c:v>3-III.</c:v>
                </c:pt>
                <c:pt idx="69">
                  <c:v>4-III.</c:v>
                </c:pt>
                <c:pt idx="70">
                  <c:v>5-III.</c:v>
                </c:pt>
                <c:pt idx="71">
                  <c:v>6-III.</c:v>
                </c:pt>
                <c:pt idx="72">
                  <c:v>7-III.</c:v>
                </c:pt>
                <c:pt idx="73">
                  <c:v>8-III.</c:v>
                </c:pt>
                <c:pt idx="74">
                  <c:v>9-III.</c:v>
                </c:pt>
                <c:pt idx="75">
                  <c:v>10-III.</c:v>
                </c:pt>
                <c:pt idx="76">
                  <c:v>11-III.</c:v>
                </c:pt>
                <c:pt idx="77">
                  <c:v>12-III.</c:v>
                </c:pt>
                <c:pt idx="78">
                  <c:v>13-III.</c:v>
                </c:pt>
                <c:pt idx="79">
                  <c:v>14-III.</c:v>
                </c:pt>
                <c:pt idx="80">
                  <c:v>15-III.</c:v>
                </c:pt>
                <c:pt idx="81">
                  <c:v>16-III.</c:v>
                </c:pt>
                <c:pt idx="82">
                  <c:v>17-III.</c:v>
                </c:pt>
                <c:pt idx="83">
                  <c:v>18-III.</c:v>
                </c:pt>
                <c:pt idx="84">
                  <c:v>19-III.</c:v>
                </c:pt>
                <c:pt idx="85">
                  <c:v>20-III.</c:v>
                </c:pt>
                <c:pt idx="86">
                  <c:v>21-III.</c:v>
                </c:pt>
                <c:pt idx="87">
                  <c:v>22-III.</c:v>
                </c:pt>
                <c:pt idx="88">
                  <c:v>23-III.</c:v>
                </c:pt>
                <c:pt idx="89">
                  <c:v>24-III.</c:v>
                </c:pt>
                <c:pt idx="90">
                  <c:v>25-III.</c:v>
                </c:pt>
                <c:pt idx="91">
                  <c:v>26-III.</c:v>
                </c:pt>
                <c:pt idx="92">
                  <c:v>27-III.</c:v>
                </c:pt>
                <c:pt idx="93">
                  <c:v>28-III.</c:v>
                </c:pt>
                <c:pt idx="94">
                  <c:v>29-III.</c:v>
                </c:pt>
                <c:pt idx="95">
                  <c:v>30-III.</c:v>
                </c:pt>
                <c:pt idx="96">
                  <c:v>31-III.</c:v>
                </c:pt>
                <c:pt idx="97">
                  <c:v>1-IV.</c:v>
                </c:pt>
                <c:pt idx="98">
                  <c:v>2-IV.</c:v>
                </c:pt>
                <c:pt idx="99">
                  <c:v>3-IV.</c:v>
                </c:pt>
                <c:pt idx="100">
                  <c:v>4-IV.</c:v>
                </c:pt>
                <c:pt idx="101">
                  <c:v>5-IV.</c:v>
                </c:pt>
                <c:pt idx="102">
                  <c:v>6-IV.</c:v>
                </c:pt>
                <c:pt idx="103">
                  <c:v>7-IV.</c:v>
                </c:pt>
                <c:pt idx="104">
                  <c:v>8-IV.</c:v>
                </c:pt>
                <c:pt idx="105">
                  <c:v>9-IV.</c:v>
                </c:pt>
                <c:pt idx="106">
                  <c:v>10-IV.</c:v>
                </c:pt>
                <c:pt idx="107">
                  <c:v>11-IV.</c:v>
                </c:pt>
                <c:pt idx="108">
                  <c:v>12-IV.</c:v>
                </c:pt>
                <c:pt idx="109">
                  <c:v>13-IV.</c:v>
                </c:pt>
                <c:pt idx="110">
                  <c:v>14-IV.</c:v>
                </c:pt>
                <c:pt idx="111">
                  <c:v>15-IV.</c:v>
                </c:pt>
                <c:pt idx="112">
                  <c:v>16-IV.</c:v>
                </c:pt>
                <c:pt idx="113">
                  <c:v>17-IV.</c:v>
                </c:pt>
                <c:pt idx="114">
                  <c:v>18-IV.</c:v>
                </c:pt>
                <c:pt idx="115">
                  <c:v>19-IV.</c:v>
                </c:pt>
                <c:pt idx="116">
                  <c:v>20-IV.</c:v>
                </c:pt>
                <c:pt idx="117">
                  <c:v>21-IV.</c:v>
                </c:pt>
                <c:pt idx="118">
                  <c:v>22-IV.</c:v>
                </c:pt>
                <c:pt idx="119">
                  <c:v>23-IV.</c:v>
                </c:pt>
                <c:pt idx="120">
                  <c:v>24-IV.</c:v>
                </c:pt>
                <c:pt idx="121">
                  <c:v>25-IV.</c:v>
                </c:pt>
                <c:pt idx="122">
                  <c:v>26-IV.</c:v>
                </c:pt>
                <c:pt idx="123">
                  <c:v>27-IV.</c:v>
                </c:pt>
                <c:pt idx="124">
                  <c:v>28-IV.</c:v>
                </c:pt>
                <c:pt idx="125">
                  <c:v>29-IV.</c:v>
                </c:pt>
                <c:pt idx="126">
                  <c:v>30-IV.</c:v>
                </c:pt>
                <c:pt idx="127">
                  <c:v>1-V.</c:v>
                </c:pt>
                <c:pt idx="128">
                  <c:v>2-V.</c:v>
                </c:pt>
                <c:pt idx="129">
                  <c:v>3-V.</c:v>
                </c:pt>
                <c:pt idx="130">
                  <c:v>4-V.</c:v>
                </c:pt>
                <c:pt idx="131">
                  <c:v>5-V.</c:v>
                </c:pt>
                <c:pt idx="132">
                  <c:v>6-V.</c:v>
                </c:pt>
                <c:pt idx="133">
                  <c:v>7-V.</c:v>
                </c:pt>
                <c:pt idx="134">
                  <c:v>8-V.</c:v>
                </c:pt>
                <c:pt idx="135">
                  <c:v>9-V.</c:v>
                </c:pt>
                <c:pt idx="136">
                  <c:v>10-V.</c:v>
                </c:pt>
                <c:pt idx="137">
                  <c:v>11-V.</c:v>
                </c:pt>
                <c:pt idx="138">
                  <c:v>12-V.</c:v>
                </c:pt>
                <c:pt idx="139">
                  <c:v>13-V.</c:v>
                </c:pt>
                <c:pt idx="140">
                  <c:v>14-V.</c:v>
                </c:pt>
                <c:pt idx="141">
                  <c:v>15-V.</c:v>
                </c:pt>
                <c:pt idx="142">
                  <c:v>16-V.</c:v>
                </c:pt>
                <c:pt idx="143">
                  <c:v>17-V.</c:v>
                </c:pt>
                <c:pt idx="144">
                  <c:v>18-V.</c:v>
                </c:pt>
                <c:pt idx="145">
                  <c:v>19-V.</c:v>
                </c:pt>
                <c:pt idx="146">
                  <c:v>20-V.</c:v>
                </c:pt>
                <c:pt idx="147">
                  <c:v>21-V.</c:v>
                </c:pt>
                <c:pt idx="148">
                  <c:v>22-V.</c:v>
                </c:pt>
                <c:pt idx="149">
                  <c:v>23-V.</c:v>
                </c:pt>
                <c:pt idx="150">
                  <c:v>24-V.</c:v>
                </c:pt>
                <c:pt idx="151">
                  <c:v>25-V.</c:v>
                </c:pt>
                <c:pt idx="152">
                  <c:v>26-V.</c:v>
                </c:pt>
                <c:pt idx="153">
                  <c:v>27-V.</c:v>
                </c:pt>
                <c:pt idx="154">
                  <c:v>28-V.</c:v>
                </c:pt>
                <c:pt idx="155">
                  <c:v>29-V.</c:v>
                </c:pt>
                <c:pt idx="156">
                  <c:v>30-V.</c:v>
                </c:pt>
                <c:pt idx="157">
                  <c:v>31-V.</c:v>
                </c:pt>
                <c:pt idx="158">
                  <c:v>1-VI.</c:v>
                </c:pt>
                <c:pt idx="159">
                  <c:v>2-VI.</c:v>
                </c:pt>
                <c:pt idx="160">
                  <c:v>3-VI.</c:v>
                </c:pt>
                <c:pt idx="161">
                  <c:v>4-VI.</c:v>
                </c:pt>
                <c:pt idx="162">
                  <c:v>5-VI.</c:v>
                </c:pt>
                <c:pt idx="163">
                  <c:v>6-VI.</c:v>
                </c:pt>
                <c:pt idx="164">
                  <c:v>7-VI.</c:v>
                </c:pt>
                <c:pt idx="165">
                  <c:v>8-VI.</c:v>
                </c:pt>
                <c:pt idx="166">
                  <c:v>9-VI.</c:v>
                </c:pt>
                <c:pt idx="167">
                  <c:v>10-VI.</c:v>
                </c:pt>
                <c:pt idx="168">
                  <c:v>11-VI.</c:v>
                </c:pt>
                <c:pt idx="169">
                  <c:v>12-VI.</c:v>
                </c:pt>
                <c:pt idx="170">
                  <c:v>13-VI.</c:v>
                </c:pt>
                <c:pt idx="171">
                  <c:v>14-VI.</c:v>
                </c:pt>
                <c:pt idx="172">
                  <c:v>15-VI.</c:v>
                </c:pt>
                <c:pt idx="173">
                  <c:v>16-VI.</c:v>
                </c:pt>
                <c:pt idx="174">
                  <c:v>17-VI.</c:v>
                </c:pt>
                <c:pt idx="175">
                  <c:v>18-VI.</c:v>
                </c:pt>
                <c:pt idx="176">
                  <c:v>19-VI.</c:v>
                </c:pt>
                <c:pt idx="177">
                  <c:v>20-VI.</c:v>
                </c:pt>
                <c:pt idx="178">
                  <c:v>21-VI.</c:v>
                </c:pt>
                <c:pt idx="179">
                  <c:v>22-VI.</c:v>
                </c:pt>
                <c:pt idx="180">
                  <c:v>23-VI.</c:v>
                </c:pt>
                <c:pt idx="181">
                  <c:v>24-VI.</c:v>
                </c:pt>
                <c:pt idx="182">
                  <c:v>25-VI.</c:v>
                </c:pt>
                <c:pt idx="183">
                  <c:v>26-VI.</c:v>
                </c:pt>
                <c:pt idx="184">
                  <c:v>27-VI.</c:v>
                </c:pt>
                <c:pt idx="185">
                  <c:v>28-VI.</c:v>
                </c:pt>
                <c:pt idx="186">
                  <c:v>29-VI.</c:v>
                </c:pt>
                <c:pt idx="187">
                  <c:v>30-VI.</c:v>
                </c:pt>
                <c:pt idx="188">
                  <c:v>1-VII.</c:v>
                </c:pt>
                <c:pt idx="189">
                  <c:v>2-VII.</c:v>
                </c:pt>
                <c:pt idx="190">
                  <c:v>3-VII.</c:v>
                </c:pt>
                <c:pt idx="191">
                  <c:v>4-VII.</c:v>
                </c:pt>
                <c:pt idx="192">
                  <c:v>5-VII.</c:v>
                </c:pt>
                <c:pt idx="193">
                  <c:v>6-VII.</c:v>
                </c:pt>
                <c:pt idx="194">
                  <c:v>7-VII.</c:v>
                </c:pt>
                <c:pt idx="195">
                  <c:v>8-VII.</c:v>
                </c:pt>
                <c:pt idx="196">
                  <c:v>9-VII.</c:v>
                </c:pt>
                <c:pt idx="197">
                  <c:v>10-VII.</c:v>
                </c:pt>
                <c:pt idx="198">
                  <c:v>11-VII.</c:v>
                </c:pt>
                <c:pt idx="199">
                  <c:v>12-VII.</c:v>
                </c:pt>
                <c:pt idx="200">
                  <c:v>13-VII.</c:v>
                </c:pt>
                <c:pt idx="201">
                  <c:v>14-VII.</c:v>
                </c:pt>
                <c:pt idx="202">
                  <c:v>15-VII.</c:v>
                </c:pt>
                <c:pt idx="203">
                  <c:v>16-VII.</c:v>
                </c:pt>
                <c:pt idx="204">
                  <c:v>17-VII.</c:v>
                </c:pt>
                <c:pt idx="205">
                  <c:v>18-VII.</c:v>
                </c:pt>
                <c:pt idx="206">
                  <c:v>19-VII.</c:v>
                </c:pt>
                <c:pt idx="207">
                  <c:v>20-VII.</c:v>
                </c:pt>
                <c:pt idx="208">
                  <c:v>21-VII.</c:v>
                </c:pt>
                <c:pt idx="209">
                  <c:v>22-VII.</c:v>
                </c:pt>
                <c:pt idx="210">
                  <c:v>23-VII.</c:v>
                </c:pt>
                <c:pt idx="211">
                  <c:v>24-VII.</c:v>
                </c:pt>
                <c:pt idx="212">
                  <c:v>25-VII.</c:v>
                </c:pt>
                <c:pt idx="213">
                  <c:v>26-VII.</c:v>
                </c:pt>
                <c:pt idx="214">
                  <c:v>27-VII.</c:v>
                </c:pt>
                <c:pt idx="215">
                  <c:v>28-VII.</c:v>
                </c:pt>
                <c:pt idx="216">
                  <c:v>29-VII.</c:v>
                </c:pt>
                <c:pt idx="217">
                  <c:v>30-VII.</c:v>
                </c:pt>
                <c:pt idx="218">
                  <c:v>31-VII.</c:v>
                </c:pt>
                <c:pt idx="219">
                  <c:v>1-VIII.</c:v>
                </c:pt>
                <c:pt idx="220">
                  <c:v>2-VIII.</c:v>
                </c:pt>
                <c:pt idx="221">
                  <c:v>3-VIII.</c:v>
                </c:pt>
                <c:pt idx="222">
                  <c:v>4-VIII.</c:v>
                </c:pt>
                <c:pt idx="223">
                  <c:v>5-VIII.</c:v>
                </c:pt>
                <c:pt idx="224">
                  <c:v>6-VIII.</c:v>
                </c:pt>
                <c:pt idx="225">
                  <c:v>7-VIII.</c:v>
                </c:pt>
                <c:pt idx="226">
                  <c:v>8-VIII.</c:v>
                </c:pt>
                <c:pt idx="227">
                  <c:v>9-VIII.</c:v>
                </c:pt>
                <c:pt idx="228">
                  <c:v>10-VIII.</c:v>
                </c:pt>
                <c:pt idx="229">
                  <c:v>11-VIII.</c:v>
                </c:pt>
                <c:pt idx="230">
                  <c:v>12-VIII.</c:v>
                </c:pt>
                <c:pt idx="231">
                  <c:v>13-VIII.</c:v>
                </c:pt>
                <c:pt idx="232">
                  <c:v>14-VIII.</c:v>
                </c:pt>
                <c:pt idx="233">
                  <c:v>15-VIII.</c:v>
                </c:pt>
                <c:pt idx="234">
                  <c:v>16-VIII.</c:v>
                </c:pt>
                <c:pt idx="235">
                  <c:v>17-VIII.</c:v>
                </c:pt>
                <c:pt idx="236">
                  <c:v>18-VIII.</c:v>
                </c:pt>
                <c:pt idx="237">
                  <c:v>19-VIII.</c:v>
                </c:pt>
                <c:pt idx="238">
                  <c:v>20-VIII.</c:v>
                </c:pt>
                <c:pt idx="239">
                  <c:v>21-VIII.</c:v>
                </c:pt>
                <c:pt idx="240">
                  <c:v>22-VIII.</c:v>
                </c:pt>
                <c:pt idx="241">
                  <c:v>23-VIII.</c:v>
                </c:pt>
                <c:pt idx="242">
                  <c:v>24-VIII.</c:v>
                </c:pt>
                <c:pt idx="243">
                  <c:v>25-VIII.</c:v>
                </c:pt>
                <c:pt idx="244">
                  <c:v>26-VIII.</c:v>
                </c:pt>
                <c:pt idx="245">
                  <c:v>27-VIII.</c:v>
                </c:pt>
                <c:pt idx="246">
                  <c:v>28-VIII.</c:v>
                </c:pt>
                <c:pt idx="247">
                  <c:v>29-VIII.</c:v>
                </c:pt>
                <c:pt idx="248">
                  <c:v>30-VIII.</c:v>
                </c:pt>
                <c:pt idx="249">
                  <c:v>31-VIII.</c:v>
                </c:pt>
                <c:pt idx="250">
                  <c:v>1-IX.</c:v>
                </c:pt>
                <c:pt idx="251">
                  <c:v>2-IX.</c:v>
                </c:pt>
                <c:pt idx="252">
                  <c:v>3-IX.</c:v>
                </c:pt>
                <c:pt idx="253">
                  <c:v>4-IX.</c:v>
                </c:pt>
                <c:pt idx="254">
                  <c:v>5-IX.</c:v>
                </c:pt>
                <c:pt idx="255">
                  <c:v>6-IX.</c:v>
                </c:pt>
                <c:pt idx="256">
                  <c:v>7-IX.</c:v>
                </c:pt>
                <c:pt idx="257">
                  <c:v>8-IX.</c:v>
                </c:pt>
                <c:pt idx="258">
                  <c:v>9-IX.</c:v>
                </c:pt>
                <c:pt idx="259">
                  <c:v>10-IX.</c:v>
                </c:pt>
                <c:pt idx="260">
                  <c:v>11-IX.</c:v>
                </c:pt>
                <c:pt idx="261">
                  <c:v>12-IX.</c:v>
                </c:pt>
                <c:pt idx="262">
                  <c:v>13-IX.</c:v>
                </c:pt>
                <c:pt idx="263">
                  <c:v>14-IX.</c:v>
                </c:pt>
                <c:pt idx="264">
                  <c:v>15-IX.</c:v>
                </c:pt>
                <c:pt idx="265">
                  <c:v>16-IX.</c:v>
                </c:pt>
                <c:pt idx="266">
                  <c:v>17-IX.</c:v>
                </c:pt>
                <c:pt idx="267">
                  <c:v>18-IX.</c:v>
                </c:pt>
                <c:pt idx="268">
                  <c:v>19-IX.</c:v>
                </c:pt>
                <c:pt idx="269">
                  <c:v>20-IX.</c:v>
                </c:pt>
                <c:pt idx="270">
                  <c:v>21-IX.</c:v>
                </c:pt>
                <c:pt idx="271">
                  <c:v>22-IX.</c:v>
                </c:pt>
                <c:pt idx="272">
                  <c:v>23-IX.</c:v>
                </c:pt>
                <c:pt idx="273">
                  <c:v>24-IX.</c:v>
                </c:pt>
                <c:pt idx="274">
                  <c:v>25-IX.</c:v>
                </c:pt>
                <c:pt idx="275">
                  <c:v>26-IX.</c:v>
                </c:pt>
                <c:pt idx="276">
                  <c:v>27-IX.</c:v>
                </c:pt>
                <c:pt idx="277">
                  <c:v>28-IX.</c:v>
                </c:pt>
                <c:pt idx="278">
                  <c:v>29-IX.</c:v>
                </c:pt>
                <c:pt idx="279">
                  <c:v>30-IX.</c:v>
                </c:pt>
                <c:pt idx="280">
                  <c:v>1-X.</c:v>
                </c:pt>
                <c:pt idx="281">
                  <c:v>2-X.</c:v>
                </c:pt>
                <c:pt idx="282">
                  <c:v>3-X.</c:v>
                </c:pt>
                <c:pt idx="283">
                  <c:v>4-X.</c:v>
                </c:pt>
                <c:pt idx="284">
                  <c:v>5-X.</c:v>
                </c:pt>
                <c:pt idx="285">
                  <c:v>6-X.</c:v>
                </c:pt>
                <c:pt idx="286">
                  <c:v>7-X.</c:v>
                </c:pt>
                <c:pt idx="287">
                  <c:v>8-X.</c:v>
                </c:pt>
                <c:pt idx="288">
                  <c:v>9-X.</c:v>
                </c:pt>
                <c:pt idx="289">
                  <c:v>10-X.</c:v>
                </c:pt>
                <c:pt idx="290">
                  <c:v>11-X.</c:v>
                </c:pt>
                <c:pt idx="291">
                  <c:v>12-X.</c:v>
                </c:pt>
                <c:pt idx="292">
                  <c:v>13-X.</c:v>
                </c:pt>
                <c:pt idx="293">
                  <c:v>14-X.</c:v>
                </c:pt>
                <c:pt idx="294">
                  <c:v>15-X.</c:v>
                </c:pt>
                <c:pt idx="295">
                  <c:v>16-X.</c:v>
                </c:pt>
                <c:pt idx="296">
                  <c:v>17-X.</c:v>
                </c:pt>
                <c:pt idx="297">
                  <c:v>18-X.</c:v>
                </c:pt>
                <c:pt idx="298">
                  <c:v>19-X.</c:v>
                </c:pt>
                <c:pt idx="299">
                  <c:v>20-X.</c:v>
                </c:pt>
                <c:pt idx="300">
                  <c:v>21-X.</c:v>
                </c:pt>
                <c:pt idx="301">
                  <c:v>22-X.</c:v>
                </c:pt>
                <c:pt idx="302">
                  <c:v>23-X.</c:v>
                </c:pt>
                <c:pt idx="303">
                  <c:v>24-X.</c:v>
                </c:pt>
                <c:pt idx="304">
                  <c:v>25-X.</c:v>
                </c:pt>
                <c:pt idx="305">
                  <c:v>26-X.</c:v>
                </c:pt>
                <c:pt idx="306">
                  <c:v>27-X.</c:v>
                </c:pt>
                <c:pt idx="307">
                  <c:v>28-X.</c:v>
                </c:pt>
                <c:pt idx="308">
                  <c:v>29-X.</c:v>
                </c:pt>
                <c:pt idx="309">
                  <c:v>30-X.</c:v>
                </c:pt>
                <c:pt idx="310">
                  <c:v>31-X.</c:v>
                </c:pt>
                <c:pt idx="311">
                  <c:v>1-XI.</c:v>
                </c:pt>
                <c:pt idx="312">
                  <c:v>2-XI.</c:v>
                </c:pt>
                <c:pt idx="313">
                  <c:v>3-XI.</c:v>
                </c:pt>
                <c:pt idx="314">
                  <c:v>4-XI.</c:v>
                </c:pt>
                <c:pt idx="315">
                  <c:v>5-XI.</c:v>
                </c:pt>
                <c:pt idx="316">
                  <c:v>6-XI.</c:v>
                </c:pt>
                <c:pt idx="317">
                  <c:v>7-XI.</c:v>
                </c:pt>
                <c:pt idx="318">
                  <c:v>8-XI.</c:v>
                </c:pt>
                <c:pt idx="319">
                  <c:v>9-XI.</c:v>
                </c:pt>
                <c:pt idx="320">
                  <c:v>10-XI.</c:v>
                </c:pt>
                <c:pt idx="321">
                  <c:v>11-XI.</c:v>
                </c:pt>
                <c:pt idx="322">
                  <c:v>12-XI.</c:v>
                </c:pt>
                <c:pt idx="323">
                  <c:v>13-XI.</c:v>
                </c:pt>
                <c:pt idx="324">
                  <c:v>14-XI.</c:v>
                </c:pt>
                <c:pt idx="325">
                  <c:v>15-XI.</c:v>
                </c:pt>
                <c:pt idx="326">
                  <c:v>16-XI.</c:v>
                </c:pt>
                <c:pt idx="327">
                  <c:v>17-XI.</c:v>
                </c:pt>
                <c:pt idx="328">
                  <c:v>18-XI.</c:v>
                </c:pt>
                <c:pt idx="329">
                  <c:v>19-XI.</c:v>
                </c:pt>
                <c:pt idx="330">
                  <c:v>20-XI.</c:v>
                </c:pt>
                <c:pt idx="331">
                  <c:v>21-XI.</c:v>
                </c:pt>
                <c:pt idx="332">
                  <c:v>22-XI.</c:v>
                </c:pt>
                <c:pt idx="333">
                  <c:v>23-XI.</c:v>
                </c:pt>
                <c:pt idx="334">
                  <c:v>24-XI.</c:v>
                </c:pt>
                <c:pt idx="335">
                  <c:v>25-XI.</c:v>
                </c:pt>
                <c:pt idx="336">
                  <c:v>26-XI.</c:v>
                </c:pt>
                <c:pt idx="337">
                  <c:v>27-XI.</c:v>
                </c:pt>
                <c:pt idx="338">
                  <c:v>28-XI.</c:v>
                </c:pt>
                <c:pt idx="339">
                  <c:v>29-XI.</c:v>
                </c:pt>
                <c:pt idx="340">
                  <c:v>30-XI.</c:v>
                </c:pt>
                <c:pt idx="341">
                  <c:v>1-XII.</c:v>
                </c:pt>
                <c:pt idx="342">
                  <c:v>2-XII.</c:v>
                </c:pt>
                <c:pt idx="343">
                  <c:v>3-XII.</c:v>
                </c:pt>
                <c:pt idx="344">
                  <c:v>4-XII.</c:v>
                </c:pt>
                <c:pt idx="345">
                  <c:v>5-XII.</c:v>
                </c:pt>
                <c:pt idx="346">
                  <c:v>6-XII.</c:v>
                </c:pt>
                <c:pt idx="347">
                  <c:v>7-XII.</c:v>
                </c:pt>
                <c:pt idx="348">
                  <c:v>8-XII.</c:v>
                </c:pt>
                <c:pt idx="349">
                  <c:v>9-XII.</c:v>
                </c:pt>
                <c:pt idx="350">
                  <c:v>10-XII.</c:v>
                </c:pt>
                <c:pt idx="351">
                  <c:v>11-XII.</c:v>
                </c:pt>
                <c:pt idx="352">
                  <c:v>12-XII.</c:v>
                </c:pt>
                <c:pt idx="353">
                  <c:v>13-XII.</c:v>
                </c:pt>
                <c:pt idx="354">
                  <c:v>14-XII.</c:v>
                </c:pt>
                <c:pt idx="355">
                  <c:v>15-XII.</c:v>
                </c:pt>
                <c:pt idx="356">
                  <c:v>16-XII.</c:v>
                </c:pt>
                <c:pt idx="357">
                  <c:v>17-XII.</c:v>
                </c:pt>
              </c:strCache>
            </c:strRef>
          </c:cat>
          <c:val>
            <c:numRef>
              <c:f>List1!$G$3:$MZ$3</c:f>
              <c:numCache>
                <c:formatCode>General</c:formatCode>
                <c:ptCount val="358"/>
                <c:pt idx="2">
                  <c:v>409</c:v>
                </c:pt>
                <c:pt idx="3">
                  <c:v>1123</c:v>
                </c:pt>
                <c:pt idx="4">
                  <c:v>2233</c:v>
                </c:pt>
                <c:pt idx="5">
                  <c:v>3368</c:v>
                </c:pt>
                <c:pt idx="6">
                  <c:v>3749</c:v>
                </c:pt>
                <c:pt idx="7">
                  <c:v>3868</c:v>
                </c:pt>
                <c:pt idx="8">
                  <c:v>4349</c:v>
                </c:pt>
                <c:pt idx="9">
                  <c:v>4667</c:v>
                </c:pt>
                <c:pt idx="10">
                  <c:v>6014</c:v>
                </c:pt>
                <c:pt idx="11">
                  <c:v>7657</c:v>
                </c:pt>
                <c:pt idx="12">
                  <c:v>9670</c:v>
                </c:pt>
                <c:pt idx="13">
                  <c:v>12225</c:v>
                </c:pt>
                <c:pt idx="14">
                  <c:v>15356</c:v>
                </c:pt>
                <c:pt idx="15">
                  <c:v>15803</c:v>
                </c:pt>
                <c:pt idx="16">
                  <c:v>16157</c:v>
                </c:pt>
                <c:pt idx="17">
                  <c:v>18957</c:v>
                </c:pt>
                <c:pt idx="18">
                  <c:v>22151</c:v>
                </c:pt>
                <c:pt idx="19">
                  <c:v>25016</c:v>
                </c:pt>
                <c:pt idx="20">
                  <c:v>28207</c:v>
                </c:pt>
                <c:pt idx="21">
                  <c:v>30991</c:v>
                </c:pt>
                <c:pt idx="22">
                  <c:v>31372</c:v>
                </c:pt>
                <c:pt idx="23">
                  <c:v>31599</c:v>
                </c:pt>
                <c:pt idx="24">
                  <c:v>33554</c:v>
                </c:pt>
                <c:pt idx="25">
                  <c:v>35243</c:v>
                </c:pt>
                <c:pt idx="26">
                  <c:v>36889</c:v>
                </c:pt>
                <c:pt idx="27">
                  <c:v>38422</c:v>
                </c:pt>
                <c:pt idx="28">
                  <c:v>39732</c:v>
                </c:pt>
                <c:pt idx="29">
                  <c:v>39889</c:v>
                </c:pt>
                <c:pt idx="30">
                  <c:v>39998</c:v>
                </c:pt>
                <c:pt idx="31">
                  <c:v>40643</c:v>
                </c:pt>
                <c:pt idx="32">
                  <c:v>41417</c:v>
                </c:pt>
                <c:pt idx="33">
                  <c:v>42071</c:v>
                </c:pt>
                <c:pt idx="34">
                  <c:v>42679</c:v>
                </c:pt>
                <c:pt idx="35">
                  <c:v>43243</c:v>
                </c:pt>
                <c:pt idx="36">
                  <c:v>43265</c:v>
                </c:pt>
                <c:pt idx="37">
                  <c:v>43283</c:v>
                </c:pt>
                <c:pt idx="38">
                  <c:v>43641</c:v>
                </c:pt>
                <c:pt idx="39">
                  <c:v>43983</c:v>
                </c:pt>
                <c:pt idx="40">
                  <c:v>44344</c:v>
                </c:pt>
                <c:pt idx="41">
                  <c:v>44675</c:v>
                </c:pt>
                <c:pt idx="42">
                  <c:v>45093</c:v>
                </c:pt>
                <c:pt idx="43">
                  <c:v>45115</c:v>
                </c:pt>
                <c:pt idx="44">
                  <c:v>45136</c:v>
                </c:pt>
                <c:pt idx="45">
                  <c:v>45405</c:v>
                </c:pt>
                <c:pt idx="46">
                  <c:v>45727</c:v>
                </c:pt>
                <c:pt idx="47">
                  <c:v>46130</c:v>
                </c:pt>
                <c:pt idx="48">
                  <c:v>46603</c:v>
                </c:pt>
                <c:pt idx="49">
                  <c:v>47135</c:v>
                </c:pt>
                <c:pt idx="50">
                  <c:v>47309</c:v>
                </c:pt>
                <c:pt idx="51">
                  <c:v>47363</c:v>
                </c:pt>
                <c:pt idx="52">
                  <c:v>47915</c:v>
                </c:pt>
                <c:pt idx="53">
                  <c:v>48404</c:v>
                </c:pt>
                <c:pt idx="54">
                  <c:v>48973</c:v>
                </c:pt>
                <c:pt idx="55">
                  <c:v>49642</c:v>
                </c:pt>
                <c:pt idx="56">
                  <c:v>50399</c:v>
                </c:pt>
                <c:pt idx="57">
                  <c:v>50527</c:v>
                </c:pt>
                <c:pt idx="58">
                  <c:v>50586</c:v>
                </c:pt>
                <c:pt idx="59">
                  <c:v>51183</c:v>
                </c:pt>
                <c:pt idx="60">
                  <c:v>51999</c:v>
                </c:pt>
                <c:pt idx="61">
                  <c:v>52822</c:v>
                </c:pt>
                <c:pt idx="62">
                  <c:v>54047</c:v>
                </c:pt>
                <c:pt idx="63">
                  <c:v>55037</c:v>
                </c:pt>
                <c:pt idx="64">
                  <c:v>55113</c:v>
                </c:pt>
                <c:pt idx="65">
                  <c:v>55160</c:v>
                </c:pt>
                <c:pt idx="66">
                  <c:v>56049</c:v>
                </c:pt>
                <c:pt idx="67">
                  <c:v>57002</c:v>
                </c:pt>
                <c:pt idx="68">
                  <c:v>57997</c:v>
                </c:pt>
                <c:pt idx="69">
                  <c:v>58907</c:v>
                </c:pt>
                <c:pt idx="70">
                  <c:v>60096</c:v>
                </c:pt>
                <c:pt idx="71">
                  <c:v>60345</c:v>
                </c:pt>
                <c:pt idx="72">
                  <c:v>60534</c:v>
                </c:pt>
                <c:pt idx="73">
                  <c:v>61311</c:v>
                </c:pt>
                <c:pt idx="74">
                  <c:v>62237</c:v>
                </c:pt>
                <c:pt idx="75">
                  <c:v>63186</c:v>
                </c:pt>
                <c:pt idx="76">
                  <c:v>64513</c:v>
                </c:pt>
                <c:pt idx="77">
                  <c:v>65616</c:v>
                </c:pt>
                <c:pt idx="78">
                  <c:v>65852</c:v>
                </c:pt>
                <c:pt idx="79">
                  <c:v>66095</c:v>
                </c:pt>
                <c:pt idx="80">
                  <c:v>66801</c:v>
                </c:pt>
                <c:pt idx="81">
                  <c:v>67843</c:v>
                </c:pt>
                <c:pt idx="82">
                  <c:v>68865</c:v>
                </c:pt>
                <c:pt idx="83">
                  <c:v>69759</c:v>
                </c:pt>
                <c:pt idx="84">
                  <c:v>70734</c:v>
                </c:pt>
                <c:pt idx="85">
                  <c:v>71094</c:v>
                </c:pt>
                <c:pt idx="86">
                  <c:v>71266</c:v>
                </c:pt>
                <c:pt idx="87">
                  <c:v>71797</c:v>
                </c:pt>
                <c:pt idx="88">
                  <c:v>72350</c:v>
                </c:pt>
                <c:pt idx="89">
                  <c:v>72855</c:v>
                </c:pt>
                <c:pt idx="90">
                  <c:v>73413</c:v>
                </c:pt>
                <c:pt idx="91">
                  <c:v>73994</c:v>
                </c:pt>
                <c:pt idx="92">
                  <c:v>74146</c:v>
                </c:pt>
                <c:pt idx="93">
                  <c:v>74313</c:v>
                </c:pt>
                <c:pt idx="94">
                  <c:v>74661</c:v>
                </c:pt>
                <c:pt idx="95">
                  <c:v>75107</c:v>
                </c:pt>
                <c:pt idx="96">
                  <c:v>75575</c:v>
                </c:pt>
                <c:pt idx="97">
                  <c:v>76029</c:v>
                </c:pt>
                <c:pt idx="98">
                  <c:v>76134</c:v>
                </c:pt>
                <c:pt idx="99">
                  <c:v>76176</c:v>
                </c:pt>
                <c:pt idx="100">
                  <c:v>76225</c:v>
                </c:pt>
                <c:pt idx="101">
                  <c:v>76261</c:v>
                </c:pt>
                <c:pt idx="102">
                  <c:v>76507</c:v>
                </c:pt>
                <c:pt idx="103">
                  <c:v>76824</c:v>
                </c:pt>
                <c:pt idx="104">
                  <c:v>77363</c:v>
                </c:pt>
                <c:pt idx="105">
                  <c:v>77937</c:v>
                </c:pt>
                <c:pt idx="106">
                  <c:v>78095</c:v>
                </c:pt>
                <c:pt idx="107">
                  <c:v>78195</c:v>
                </c:pt>
                <c:pt idx="108">
                  <c:v>78622</c:v>
                </c:pt>
                <c:pt idx="109">
                  <c:v>79002</c:v>
                </c:pt>
                <c:pt idx="110">
                  <c:v>79456</c:v>
                </c:pt>
                <c:pt idx="111">
                  <c:v>80115</c:v>
                </c:pt>
                <c:pt idx="112">
                  <c:v>80841</c:v>
                </c:pt>
                <c:pt idx="113">
                  <c:v>81044</c:v>
                </c:pt>
                <c:pt idx="114">
                  <c:v>81236</c:v>
                </c:pt>
                <c:pt idx="115">
                  <c:v>81756</c:v>
                </c:pt>
                <c:pt idx="116">
                  <c:v>82260</c:v>
                </c:pt>
                <c:pt idx="117">
                  <c:v>82918</c:v>
                </c:pt>
                <c:pt idx="118">
                  <c:v>83642</c:v>
                </c:pt>
                <c:pt idx="119">
                  <c:v>84353</c:v>
                </c:pt>
                <c:pt idx="120">
                  <c:v>84553</c:v>
                </c:pt>
                <c:pt idx="121">
                  <c:v>84741</c:v>
                </c:pt>
                <c:pt idx="122">
                  <c:v>85348</c:v>
                </c:pt>
                <c:pt idx="123">
                  <c:v>85896</c:v>
                </c:pt>
                <c:pt idx="124">
                  <c:v>86599</c:v>
                </c:pt>
                <c:pt idx="125">
                  <c:v>87357</c:v>
                </c:pt>
                <c:pt idx="126">
                  <c:v>88004</c:v>
                </c:pt>
                <c:pt idx="127">
                  <c:v>88158</c:v>
                </c:pt>
                <c:pt idx="128">
                  <c:v>88311</c:v>
                </c:pt>
                <c:pt idx="129">
                  <c:v>88819</c:v>
                </c:pt>
                <c:pt idx="130">
                  <c:v>89340</c:v>
                </c:pt>
                <c:pt idx="131">
                  <c:v>89865</c:v>
                </c:pt>
                <c:pt idx="132">
                  <c:v>90412</c:v>
                </c:pt>
                <c:pt idx="133">
                  <c:v>90983</c:v>
                </c:pt>
                <c:pt idx="134">
                  <c:v>91200</c:v>
                </c:pt>
                <c:pt idx="135">
                  <c:v>91307</c:v>
                </c:pt>
                <c:pt idx="136">
                  <c:v>91704</c:v>
                </c:pt>
                <c:pt idx="137">
                  <c:v>92183</c:v>
                </c:pt>
                <c:pt idx="138">
                  <c:v>92616</c:v>
                </c:pt>
                <c:pt idx="139">
                  <c:v>93051</c:v>
                </c:pt>
                <c:pt idx="140">
                  <c:v>93417</c:v>
                </c:pt>
                <c:pt idx="141">
                  <c:v>93578</c:v>
                </c:pt>
                <c:pt idx="142">
                  <c:v>93682</c:v>
                </c:pt>
                <c:pt idx="143">
                  <c:v>93999</c:v>
                </c:pt>
                <c:pt idx="144">
                  <c:v>94372</c:v>
                </c:pt>
                <c:pt idx="145">
                  <c:v>94733</c:v>
                </c:pt>
                <c:pt idx="146">
                  <c:v>95124</c:v>
                </c:pt>
                <c:pt idx="147">
                  <c:v>95488</c:v>
                </c:pt>
                <c:pt idx="148">
                  <c:v>95633</c:v>
                </c:pt>
                <c:pt idx="149">
                  <c:v>95731</c:v>
                </c:pt>
                <c:pt idx="150">
                  <c:v>95944</c:v>
                </c:pt>
                <c:pt idx="151">
                  <c:v>96183</c:v>
                </c:pt>
                <c:pt idx="152">
                  <c:v>96533</c:v>
                </c:pt>
                <c:pt idx="153">
                  <c:v>96862</c:v>
                </c:pt>
                <c:pt idx="154">
                  <c:v>97147</c:v>
                </c:pt>
                <c:pt idx="155">
                  <c:v>97289</c:v>
                </c:pt>
                <c:pt idx="156">
                  <c:v>97380</c:v>
                </c:pt>
                <c:pt idx="157">
                  <c:v>97657</c:v>
                </c:pt>
                <c:pt idx="158">
                  <c:v>97928</c:v>
                </c:pt>
                <c:pt idx="159">
                  <c:v>98272</c:v>
                </c:pt>
                <c:pt idx="160">
                  <c:v>98625</c:v>
                </c:pt>
                <c:pt idx="161">
                  <c:v>98950</c:v>
                </c:pt>
                <c:pt idx="162">
                  <c:v>99087</c:v>
                </c:pt>
                <c:pt idx="163">
                  <c:v>99217</c:v>
                </c:pt>
                <c:pt idx="164">
                  <c:v>99554</c:v>
                </c:pt>
                <c:pt idx="165">
                  <c:v>99894</c:v>
                </c:pt>
                <c:pt idx="166">
                  <c:v>100244</c:v>
                </c:pt>
                <c:pt idx="167">
                  <c:v>100602</c:v>
                </c:pt>
                <c:pt idx="168">
                  <c:v>100903</c:v>
                </c:pt>
                <c:pt idx="169">
                  <c:v>101111</c:v>
                </c:pt>
                <c:pt idx="170">
                  <c:v>101228</c:v>
                </c:pt>
                <c:pt idx="171">
                  <c:v>101472</c:v>
                </c:pt>
                <c:pt idx="172">
                  <c:v>101745</c:v>
                </c:pt>
                <c:pt idx="173">
                  <c:v>101986</c:v>
                </c:pt>
                <c:pt idx="174">
                  <c:v>102256</c:v>
                </c:pt>
                <c:pt idx="175">
                  <c:v>102473</c:v>
                </c:pt>
                <c:pt idx="176">
                  <c:v>102591</c:v>
                </c:pt>
                <c:pt idx="177">
                  <c:v>102684</c:v>
                </c:pt>
                <c:pt idx="178">
                  <c:v>102862</c:v>
                </c:pt>
                <c:pt idx="179">
                  <c:v>103083</c:v>
                </c:pt>
                <c:pt idx="180">
                  <c:v>103273</c:v>
                </c:pt>
                <c:pt idx="181">
                  <c:v>103434</c:v>
                </c:pt>
                <c:pt idx="182">
                  <c:v>103620</c:v>
                </c:pt>
                <c:pt idx="183">
                  <c:v>103711</c:v>
                </c:pt>
                <c:pt idx="184">
                  <c:v>103779</c:v>
                </c:pt>
                <c:pt idx="185">
                  <c:v>103960</c:v>
                </c:pt>
                <c:pt idx="186">
                  <c:v>104128</c:v>
                </c:pt>
                <c:pt idx="187">
                  <c:v>104309</c:v>
                </c:pt>
                <c:pt idx="188">
                  <c:v>104450</c:v>
                </c:pt>
                <c:pt idx="189">
                  <c:v>104643</c:v>
                </c:pt>
                <c:pt idx="190">
                  <c:v>104677</c:v>
                </c:pt>
                <c:pt idx="191">
                  <c:v>104722</c:v>
                </c:pt>
                <c:pt idx="192">
                  <c:v>104770</c:v>
                </c:pt>
                <c:pt idx="193">
                  <c:v>104802</c:v>
                </c:pt>
                <c:pt idx="194">
                  <c:v>104966</c:v>
                </c:pt>
                <c:pt idx="195">
                  <c:v>105144</c:v>
                </c:pt>
                <c:pt idx="196">
                  <c:v>105314</c:v>
                </c:pt>
                <c:pt idx="197">
                  <c:v>105374</c:v>
                </c:pt>
                <c:pt idx="198">
                  <c:v>105423</c:v>
                </c:pt>
                <c:pt idx="199">
                  <c:v>105585</c:v>
                </c:pt>
                <c:pt idx="200">
                  <c:v>105770</c:v>
                </c:pt>
                <c:pt idx="201">
                  <c:v>105974</c:v>
                </c:pt>
                <c:pt idx="202">
                  <c:v>106165</c:v>
                </c:pt>
                <c:pt idx="203">
                  <c:v>106348</c:v>
                </c:pt>
                <c:pt idx="204">
                  <c:v>106398</c:v>
                </c:pt>
                <c:pt idx="205">
                  <c:v>106456</c:v>
                </c:pt>
                <c:pt idx="206">
                  <c:v>106626</c:v>
                </c:pt>
                <c:pt idx="207">
                  <c:v>106775</c:v>
                </c:pt>
                <c:pt idx="208">
                  <c:v>106955</c:v>
                </c:pt>
                <c:pt idx="209">
                  <c:v>107133</c:v>
                </c:pt>
                <c:pt idx="210">
                  <c:v>107280</c:v>
                </c:pt>
                <c:pt idx="211">
                  <c:v>107324</c:v>
                </c:pt>
                <c:pt idx="212">
                  <c:v>107350</c:v>
                </c:pt>
                <c:pt idx="213">
                  <c:v>107518</c:v>
                </c:pt>
                <c:pt idx="214">
                  <c:v>107687</c:v>
                </c:pt>
                <c:pt idx="215">
                  <c:v>107838</c:v>
                </c:pt>
                <c:pt idx="216">
                  <c:v>107986</c:v>
                </c:pt>
                <c:pt idx="217">
                  <c:v>108151</c:v>
                </c:pt>
                <c:pt idx="218">
                  <c:v>108190</c:v>
                </c:pt>
                <c:pt idx="219">
                  <c:v>108230</c:v>
                </c:pt>
                <c:pt idx="220">
                  <c:v>108329</c:v>
                </c:pt>
                <c:pt idx="221">
                  <c:v>108441</c:v>
                </c:pt>
                <c:pt idx="222">
                  <c:v>108570</c:v>
                </c:pt>
                <c:pt idx="223">
                  <c:v>108679</c:v>
                </c:pt>
                <c:pt idx="224">
                  <c:v>108799</c:v>
                </c:pt>
                <c:pt idx="225">
                  <c:v>108821</c:v>
                </c:pt>
                <c:pt idx="226">
                  <c:v>108846</c:v>
                </c:pt>
                <c:pt idx="227">
                  <c:v>108931</c:v>
                </c:pt>
                <c:pt idx="228">
                  <c:v>109010</c:v>
                </c:pt>
                <c:pt idx="229">
                  <c:v>109080</c:v>
                </c:pt>
                <c:pt idx="230">
                  <c:v>109186</c:v>
                </c:pt>
                <c:pt idx="231">
                  <c:v>109249</c:v>
                </c:pt>
                <c:pt idx="232">
                  <c:v>109270</c:v>
                </c:pt>
                <c:pt idx="233">
                  <c:v>109292</c:v>
                </c:pt>
                <c:pt idx="234">
                  <c:v>109377</c:v>
                </c:pt>
                <c:pt idx="235">
                  <c:v>109456</c:v>
                </c:pt>
                <c:pt idx="236">
                  <c:v>109519</c:v>
                </c:pt>
                <c:pt idx="237">
                  <c:v>109589</c:v>
                </c:pt>
                <c:pt idx="238">
                  <c:v>109704</c:v>
                </c:pt>
                <c:pt idx="239">
                  <c:v>109718</c:v>
                </c:pt>
                <c:pt idx="240">
                  <c:v>109729</c:v>
                </c:pt>
                <c:pt idx="241">
                  <c:v>109825</c:v>
                </c:pt>
                <c:pt idx="242">
                  <c:v>109913</c:v>
                </c:pt>
                <c:pt idx="243">
                  <c:v>109980</c:v>
                </c:pt>
                <c:pt idx="244">
                  <c:v>110052</c:v>
                </c:pt>
                <c:pt idx="245">
                  <c:v>110140</c:v>
                </c:pt>
                <c:pt idx="246">
                  <c:v>110156</c:v>
                </c:pt>
                <c:pt idx="247">
                  <c:v>110172</c:v>
                </c:pt>
                <c:pt idx="248">
                  <c:v>110244</c:v>
                </c:pt>
                <c:pt idx="249">
                  <c:v>110305</c:v>
                </c:pt>
                <c:pt idx="250">
                  <c:v>110361</c:v>
                </c:pt>
                <c:pt idx="251">
                  <c:v>110435</c:v>
                </c:pt>
                <c:pt idx="252">
                  <c:v>110511</c:v>
                </c:pt>
                <c:pt idx="253">
                  <c:v>110523</c:v>
                </c:pt>
                <c:pt idx="254">
                  <c:v>110533</c:v>
                </c:pt>
                <c:pt idx="255">
                  <c:v>110592</c:v>
                </c:pt>
                <c:pt idx="256">
                  <c:v>110634</c:v>
                </c:pt>
                <c:pt idx="257">
                  <c:v>110685</c:v>
                </c:pt>
                <c:pt idx="258">
                  <c:v>110741</c:v>
                </c:pt>
                <c:pt idx="259">
                  <c:v>110792</c:v>
                </c:pt>
                <c:pt idx="260">
                  <c:v>110809</c:v>
                </c:pt>
                <c:pt idx="261">
                  <c:v>110816</c:v>
                </c:pt>
                <c:pt idx="262">
                  <c:v>110860</c:v>
                </c:pt>
                <c:pt idx="263">
                  <c:v>110923</c:v>
                </c:pt>
                <c:pt idx="264">
                  <c:v>110972</c:v>
                </c:pt>
                <c:pt idx="265">
                  <c:v>111029</c:v>
                </c:pt>
                <c:pt idx="266">
                  <c:v>111097</c:v>
                </c:pt>
                <c:pt idx="267">
                  <c:v>111114</c:v>
                </c:pt>
                <c:pt idx="268">
                  <c:v>111121</c:v>
                </c:pt>
                <c:pt idx="269">
                  <c:v>111159</c:v>
                </c:pt>
                <c:pt idx="270">
                  <c:v>111208</c:v>
                </c:pt>
                <c:pt idx="271">
                  <c:v>111250</c:v>
                </c:pt>
                <c:pt idx="272">
                  <c:v>111303</c:v>
                </c:pt>
                <c:pt idx="273">
                  <c:v>111375</c:v>
                </c:pt>
                <c:pt idx="274">
                  <c:v>111385</c:v>
                </c:pt>
                <c:pt idx="275">
                  <c:v>111389</c:v>
                </c:pt>
                <c:pt idx="276">
                  <c:v>111432</c:v>
                </c:pt>
                <c:pt idx="277">
                  <c:v>111434</c:v>
                </c:pt>
                <c:pt idx="278">
                  <c:v>111475</c:v>
                </c:pt>
                <c:pt idx="279">
                  <c:v>111514</c:v>
                </c:pt>
                <c:pt idx="280">
                  <c:v>111548</c:v>
                </c:pt>
                <c:pt idx="281">
                  <c:v>111555</c:v>
                </c:pt>
                <c:pt idx="282">
                  <c:v>111562</c:v>
                </c:pt>
                <c:pt idx="283">
                  <c:v>111590</c:v>
                </c:pt>
                <c:pt idx="284">
                  <c:v>111637</c:v>
                </c:pt>
                <c:pt idx="285">
                  <c:v>111686</c:v>
                </c:pt>
                <c:pt idx="286">
                  <c:v>111714</c:v>
                </c:pt>
                <c:pt idx="287">
                  <c:v>111765</c:v>
                </c:pt>
                <c:pt idx="288">
                  <c:v>111775</c:v>
                </c:pt>
                <c:pt idx="289">
                  <c:v>111780</c:v>
                </c:pt>
                <c:pt idx="290">
                  <c:v>111810</c:v>
                </c:pt>
                <c:pt idx="291">
                  <c:v>111831</c:v>
                </c:pt>
                <c:pt idx="292">
                  <c:v>111868</c:v>
                </c:pt>
                <c:pt idx="293">
                  <c:v>111898</c:v>
                </c:pt>
                <c:pt idx="294">
                  <c:v>111943</c:v>
                </c:pt>
                <c:pt idx="295">
                  <c:v>111955</c:v>
                </c:pt>
                <c:pt idx="296">
                  <c:v>111972</c:v>
                </c:pt>
                <c:pt idx="297">
                  <c:v>112024</c:v>
                </c:pt>
                <c:pt idx="298">
                  <c:v>112080</c:v>
                </c:pt>
                <c:pt idx="299">
                  <c:v>112139</c:v>
                </c:pt>
                <c:pt idx="300">
                  <c:v>112253</c:v>
                </c:pt>
                <c:pt idx="301">
                  <c:v>112377</c:v>
                </c:pt>
                <c:pt idx="302">
                  <c:v>112403</c:v>
                </c:pt>
                <c:pt idx="303">
                  <c:v>112427</c:v>
                </c:pt>
                <c:pt idx="304">
                  <c:v>112552</c:v>
                </c:pt>
                <c:pt idx="305">
                  <c:v>112720</c:v>
                </c:pt>
                <c:pt idx="306">
                  <c:v>112921</c:v>
                </c:pt>
                <c:pt idx="307">
                  <c:v>112958</c:v>
                </c:pt>
                <c:pt idx="308">
                  <c:v>113121</c:v>
                </c:pt>
                <c:pt idx="309">
                  <c:v>113167</c:v>
                </c:pt>
                <c:pt idx="310">
                  <c:v>113199</c:v>
                </c:pt>
                <c:pt idx="311">
                  <c:v>113368</c:v>
                </c:pt>
                <c:pt idx="312">
                  <c:v>113568</c:v>
                </c:pt>
                <c:pt idx="313">
                  <c:v>113758</c:v>
                </c:pt>
                <c:pt idx="314">
                  <c:v>113990</c:v>
                </c:pt>
                <c:pt idx="315">
                  <c:v>114237</c:v>
                </c:pt>
                <c:pt idx="316">
                  <c:v>114295</c:v>
                </c:pt>
                <c:pt idx="317">
                  <c:v>114333</c:v>
                </c:pt>
                <c:pt idx="318">
                  <c:v>114519</c:v>
                </c:pt>
                <c:pt idx="319">
                  <c:v>114672</c:v>
                </c:pt>
                <c:pt idx="320">
                  <c:v>114860</c:v>
                </c:pt>
                <c:pt idx="321">
                  <c:v>115037</c:v>
                </c:pt>
                <c:pt idx="322">
                  <c:v>115242</c:v>
                </c:pt>
                <c:pt idx="323">
                  <c:v>115301</c:v>
                </c:pt>
                <c:pt idx="324">
                  <c:v>115340</c:v>
                </c:pt>
                <c:pt idx="325">
                  <c:v>115530</c:v>
                </c:pt>
                <c:pt idx="326">
                  <c:v>115733</c:v>
                </c:pt>
                <c:pt idx="327">
                  <c:v>115783</c:v>
                </c:pt>
                <c:pt idx="328">
                  <c:v>116005</c:v>
                </c:pt>
                <c:pt idx="329">
                  <c:v>116283</c:v>
                </c:pt>
                <c:pt idx="330">
                  <c:v>116374</c:v>
                </c:pt>
                <c:pt idx="331">
                  <c:v>116440</c:v>
                </c:pt>
                <c:pt idx="332">
                  <c:v>116625</c:v>
                </c:pt>
                <c:pt idx="333">
                  <c:v>116804</c:v>
                </c:pt>
                <c:pt idx="334">
                  <c:v>117029</c:v>
                </c:pt>
                <c:pt idx="335">
                  <c:v>117243</c:v>
                </c:pt>
                <c:pt idx="336">
                  <c:v>117480</c:v>
                </c:pt>
                <c:pt idx="337">
                  <c:v>117541</c:v>
                </c:pt>
                <c:pt idx="338">
                  <c:v>117565</c:v>
                </c:pt>
                <c:pt idx="339">
                  <c:v>117714</c:v>
                </c:pt>
                <c:pt idx="340">
                  <c:v>117872</c:v>
                </c:pt>
                <c:pt idx="341">
                  <c:v>118026</c:v>
                </c:pt>
                <c:pt idx="342">
                  <c:v>118144</c:v>
                </c:pt>
                <c:pt idx="343">
                  <c:v>118254</c:v>
                </c:pt>
                <c:pt idx="344">
                  <c:v>118281</c:v>
                </c:pt>
                <c:pt idx="345">
                  <c:v>118291</c:v>
                </c:pt>
                <c:pt idx="346">
                  <c:v>118390</c:v>
                </c:pt>
                <c:pt idx="347">
                  <c:v>118472</c:v>
                </c:pt>
                <c:pt idx="348">
                  <c:v>118569</c:v>
                </c:pt>
                <c:pt idx="349">
                  <c:v>118645</c:v>
                </c:pt>
                <c:pt idx="350">
                  <c:v>118728</c:v>
                </c:pt>
                <c:pt idx="351">
                  <c:v>118742</c:v>
                </c:pt>
                <c:pt idx="352">
                  <c:v>118753</c:v>
                </c:pt>
                <c:pt idx="353">
                  <c:v>118838</c:v>
                </c:pt>
                <c:pt idx="354">
                  <c:v>118899</c:v>
                </c:pt>
                <c:pt idx="355">
                  <c:v>118978</c:v>
                </c:pt>
                <c:pt idx="356">
                  <c:v>119059</c:v>
                </c:pt>
                <c:pt idx="357">
                  <c:v>1191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G$1:$MZ$1</c:f>
              <c:strCache>
                <c:ptCount val="358"/>
                <c:pt idx="0">
                  <c:v>25-XII.</c:v>
                </c:pt>
                <c:pt idx="1">
                  <c:v>26-XII.</c:v>
                </c:pt>
                <c:pt idx="2">
                  <c:v>27-XII.</c:v>
                </c:pt>
                <c:pt idx="3">
                  <c:v>28-XII.</c:v>
                </c:pt>
                <c:pt idx="4">
                  <c:v>29-XII.</c:v>
                </c:pt>
                <c:pt idx="5">
                  <c:v>30-XII.</c:v>
                </c:pt>
                <c:pt idx="6">
                  <c:v>31-XII.</c:v>
                </c:pt>
                <c:pt idx="7">
                  <c:v>1-I.</c:v>
                </c:pt>
                <c:pt idx="8">
                  <c:v>2-I.</c:v>
                </c:pt>
                <c:pt idx="9">
                  <c:v>3-I.</c:v>
                </c:pt>
                <c:pt idx="10">
                  <c:v>4-I.</c:v>
                </c:pt>
                <c:pt idx="11">
                  <c:v>5-I.</c:v>
                </c:pt>
                <c:pt idx="12">
                  <c:v>6-I.</c:v>
                </c:pt>
                <c:pt idx="13">
                  <c:v>7-I.</c:v>
                </c:pt>
                <c:pt idx="14">
                  <c:v>8-I.</c:v>
                </c:pt>
                <c:pt idx="15">
                  <c:v>9-I.</c:v>
                </c:pt>
                <c:pt idx="16">
                  <c:v>10-I.</c:v>
                </c:pt>
                <c:pt idx="17">
                  <c:v>11-I.</c:v>
                </c:pt>
                <c:pt idx="18">
                  <c:v>12-I.</c:v>
                </c:pt>
                <c:pt idx="19">
                  <c:v>13-I.</c:v>
                </c:pt>
                <c:pt idx="20">
                  <c:v>14-I.</c:v>
                </c:pt>
                <c:pt idx="21">
                  <c:v>15-I.</c:v>
                </c:pt>
                <c:pt idx="22">
                  <c:v>16-I.</c:v>
                </c:pt>
                <c:pt idx="23">
                  <c:v>17-I.</c:v>
                </c:pt>
                <c:pt idx="24">
                  <c:v>18-I.</c:v>
                </c:pt>
                <c:pt idx="25">
                  <c:v>19-I.</c:v>
                </c:pt>
                <c:pt idx="26">
                  <c:v>20-I.</c:v>
                </c:pt>
                <c:pt idx="27">
                  <c:v>21-I.</c:v>
                </c:pt>
                <c:pt idx="28">
                  <c:v>22-I.</c:v>
                </c:pt>
                <c:pt idx="29">
                  <c:v>23-I.</c:v>
                </c:pt>
                <c:pt idx="30">
                  <c:v>24-I.</c:v>
                </c:pt>
                <c:pt idx="31">
                  <c:v>25-I.</c:v>
                </c:pt>
                <c:pt idx="32">
                  <c:v>26-I.</c:v>
                </c:pt>
                <c:pt idx="33">
                  <c:v>27-I.</c:v>
                </c:pt>
                <c:pt idx="34">
                  <c:v>28-I.</c:v>
                </c:pt>
                <c:pt idx="35">
                  <c:v>29-I.</c:v>
                </c:pt>
                <c:pt idx="36">
                  <c:v>30-I.</c:v>
                </c:pt>
                <c:pt idx="37">
                  <c:v>31-I.</c:v>
                </c:pt>
                <c:pt idx="38">
                  <c:v>1-II.</c:v>
                </c:pt>
                <c:pt idx="39">
                  <c:v>2-II.</c:v>
                </c:pt>
                <c:pt idx="40">
                  <c:v>3-II.</c:v>
                </c:pt>
                <c:pt idx="41">
                  <c:v>4-II.</c:v>
                </c:pt>
                <c:pt idx="42">
                  <c:v>5-II.</c:v>
                </c:pt>
                <c:pt idx="43">
                  <c:v>6-II.</c:v>
                </c:pt>
                <c:pt idx="44">
                  <c:v>7-II.</c:v>
                </c:pt>
                <c:pt idx="45">
                  <c:v>8-II.</c:v>
                </c:pt>
                <c:pt idx="46">
                  <c:v>9-II.</c:v>
                </c:pt>
                <c:pt idx="47">
                  <c:v>10-II.</c:v>
                </c:pt>
                <c:pt idx="48">
                  <c:v>11-II.</c:v>
                </c:pt>
                <c:pt idx="49">
                  <c:v>12-II.</c:v>
                </c:pt>
                <c:pt idx="50">
                  <c:v>13-II.</c:v>
                </c:pt>
                <c:pt idx="51">
                  <c:v>14-II.</c:v>
                </c:pt>
                <c:pt idx="52">
                  <c:v>15-II.</c:v>
                </c:pt>
                <c:pt idx="53">
                  <c:v>16-II.</c:v>
                </c:pt>
                <c:pt idx="54">
                  <c:v>17-II.</c:v>
                </c:pt>
                <c:pt idx="55">
                  <c:v>18-II.</c:v>
                </c:pt>
                <c:pt idx="56">
                  <c:v>19-II.</c:v>
                </c:pt>
                <c:pt idx="57">
                  <c:v>20-II.</c:v>
                </c:pt>
                <c:pt idx="58">
                  <c:v>21-II.</c:v>
                </c:pt>
                <c:pt idx="59">
                  <c:v>22-II.</c:v>
                </c:pt>
                <c:pt idx="60">
                  <c:v>23-II.</c:v>
                </c:pt>
                <c:pt idx="61">
                  <c:v>24-II.</c:v>
                </c:pt>
                <c:pt idx="62">
                  <c:v>25-II.</c:v>
                </c:pt>
                <c:pt idx="63">
                  <c:v>26-II.</c:v>
                </c:pt>
                <c:pt idx="64">
                  <c:v>27-II.</c:v>
                </c:pt>
                <c:pt idx="65">
                  <c:v>28-II.</c:v>
                </c:pt>
                <c:pt idx="66">
                  <c:v>1-III.</c:v>
                </c:pt>
                <c:pt idx="67">
                  <c:v>2-III.</c:v>
                </c:pt>
                <c:pt idx="68">
                  <c:v>3-III.</c:v>
                </c:pt>
                <c:pt idx="69">
                  <c:v>4-III.</c:v>
                </c:pt>
                <c:pt idx="70">
                  <c:v>5-III.</c:v>
                </c:pt>
                <c:pt idx="71">
                  <c:v>6-III.</c:v>
                </c:pt>
                <c:pt idx="72">
                  <c:v>7-III.</c:v>
                </c:pt>
                <c:pt idx="73">
                  <c:v>8-III.</c:v>
                </c:pt>
                <c:pt idx="74">
                  <c:v>9-III.</c:v>
                </c:pt>
                <c:pt idx="75">
                  <c:v>10-III.</c:v>
                </c:pt>
                <c:pt idx="76">
                  <c:v>11-III.</c:v>
                </c:pt>
                <c:pt idx="77">
                  <c:v>12-III.</c:v>
                </c:pt>
                <c:pt idx="78">
                  <c:v>13-III.</c:v>
                </c:pt>
                <c:pt idx="79">
                  <c:v>14-III.</c:v>
                </c:pt>
                <c:pt idx="80">
                  <c:v>15-III.</c:v>
                </c:pt>
                <c:pt idx="81">
                  <c:v>16-III.</c:v>
                </c:pt>
                <c:pt idx="82">
                  <c:v>17-III.</c:v>
                </c:pt>
                <c:pt idx="83">
                  <c:v>18-III.</c:v>
                </c:pt>
                <c:pt idx="84">
                  <c:v>19-III.</c:v>
                </c:pt>
                <c:pt idx="85">
                  <c:v>20-III.</c:v>
                </c:pt>
                <c:pt idx="86">
                  <c:v>21-III.</c:v>
                </c:pt>
                <c:pt idx="87">
                  <c:v>22-III.</c:v>
                </c:pt>
                <c:pt idx="88">
                  <c:v>23-III.</c:v>
                </c:pt>
                <c:pt idx="89">
                  <c:v>24-III.</c:v>
                </c:pt>
                <c:pt idx="90">
                  <c:v>25-III.</c:v>
                </c:pt>
                <c:pt idx="91">
                  <c:v>26-III.</c:v>
                </c:pt>
                <c:pt idx="92">
                  <c:v>27-III.</c:v>
                </c:pt>
                <c:pt idx="93">
                  <c:v>28-III.</c:v>
                </c:pt>
                <c:pt idx="94">
                  <c:v>29-III.</c:v>
                </c:pt>
                <c:pt idx="95">
                  <c:v>30-III.</c:v>
                </c:pt>
                <c:pt idx="96">
                  <c:v>31-III.</c:v>
                </c:pt>
                <c:pt idx="97">
                  <c:v>1-IV.</c:v>
                </c:pt>
                <c:pt idx="98">
                  <c:v>2-IV.</c:v>
                </c:pt>
                <c:pt idx="99">
                  <c:v>3-IV.</c:v>
                </c:pt>
                <c:pt idx="100">
                  <c:v>4-IV.</c:v>
                </c:pt>
                <c:pt idx="101">
                  <c:v>5-IV.</c:v>
                </c:pt>
                <c:pt idx="102">
                  <c:v>6-IV.</c:v>
                </c:pt>
                <c:pt idx="103">
                  <c:v>7-IV.</c:v>
                </c:pt>
                <c:pt idx="104">
                  <c:v>8-IV.</c:v>
                </c:pt>
                <c:pt idx="105">
                  <c:v>9-IV.</c:v>
                </c:pt>
                <c:pt idx="106">
                  <c:v>10-IV.</c:v>
                </c:pt>
                <c:pt idx="107">
                  <c:v>11-IV.</c:v>
                </c:pt>
                <c:pt idx="108">
                  <c:v>12-IV.</c:v>
                </c:pt>
                <c:pt idx="109">
                  <c:v>13-IV.</c:v>
                </c:pt>
                <c:pt idx="110">
                  <c:v>14-IV.</c:v>
                </c:pt>
                <c:pt idx="111">
                  <c:v>15-IV.</c:v>
                </c:pt>
                <c:pt idx="112">
                  <c:v>16-IV.</c:v>
                </c:pt>
                <c:pt idx="113">
                  <c:v>17-IV.</c:v>
                </c:pt>
                <c:pt idx="114">
                  <c:v>18-IV.</c:v>
                </c:pt>
                <c:pt idx="115">
                  <c:v>19-IV.</c:v>
                </c:pt>
                <c:pt idx="116">
                  <c:v>20-IV.</c:v>
                </c:pt>
                <c:pt idx="117">
                  <c:v>21-IV.</c:v>
                </c:pt>
                <c:pt idx="118">
                  <c:v>22-IV.</c:v>
                </c:pt>
                <c:pt idx="119">
                  <c:v>23-IV.</c:v>
                </c:pt>
                <c:pt idx="120">
                  <c:v>24-IV.</c:v>
                </c:pt>
                <c:pt idx="121">
                  <c:v>25-IV.</c:v>
                </c:pt>
                <c:pt idx="122">
                  <c:v>26-IV.</c:v>
                </c:pt>
                <c:pt idx="123">
                  <c:v>27-IV.</c:v>
                </c:pt>
                <c:pt idx="124">
                  <c:v>28-IV.</c:v>
                </c:pt>
                <c:pt idx="125">
                  <c:v>29-IV.</c:v>
                </c:pt>
                <c:pt idx="126">
                  <c:v>30-IV.</c:v>
                </c:pt>
                <c:pt idx="127">
                  <c:v>1-V.</c:v>
                </c:pt>
                <c:pt idx="128">
                  <c:v>2-V.</c:v>
                </c:pt>
                <c:pt idx="129">
                  <c:v>3-V.</c:v>
                </c:pt>
                <c:pt idx="130">
                  <c:v>4-V.</c:v>
                </c:pt>
                <c:pt idx="131">
                  <c:v>5-V.</c:v>
                </c:pt>
                <c:pt idx="132">
                  <c:v>6-V.</c:v>
                </c:pt>
                <c:pt idx="133">
                  <c:v>7-V.</c:v>
                </c:pt>
                <c:pt idx="134">
                  <c:v>8-V.</c:v>
                </c:pt>
                <c:pt idx="135">
                  <c:v>9-V.</c:v>
                </c:pt>
                <c:pt idx="136">
                  <c:v>10-V.</c:v>
                </c:pt>
                <c:pt idx="137">
                  <c:v>11-V.</c:v>
                </c:pt>
                <c:pt idx="138">
                  <c:v>12-V.</c:v>
                </c:pt>
                <c:pt idx="139">
                  <c:v>13-V.</c:v>
                </c:pt>
                <c:pt idx="140">
                  <c:v>14-V.</c:v>
                </c:pt>
                <c:pt idx="141">
                  <c:v>15-V.</c:v>
                </c:pt>
                <c:pt idx="142">
                  <c:v>16-V.</c:v>
                </c:pt>
                <c:pt idx="143">
                  <c:v>17-V.</c:v>
                </c:pt>
                <c:pt idx="144">
                  <c:v>18-V.</c:v>
                </c:pt>
                <c:pt idx="145">
                  <c:v>19-V.</c:v>
                </c:pt>
                <c:pt idx="146">
                  <c:v>20-V.</c:v>
                </c:pt>
                <c:pt idx="147">
                  <c:v>21-V.</c:v>
                </c:pt>
                <c:pt idx="148">
                  <c:v>22-V.</c:v>
                </c:pt>
                <c:pt idx="149">
                  <c:v>23-V.</c:v>
                </c:pt>
                <c:pt idx="150">
                  <c:v>24-V.</c:v>
                </c:pt>
                <c:pt idx="151">
                  <c:v>25-V.</c:v>
                </c:pt>
                <c:pt idx="152">
                  <c:v>26-V.</c:v>
                </c:pt>
                <c:pt idx="153">
                  <c:v>27-V.</c:v>
                </c:pt>
                <c:pt idx="154">
                  <c:v>28-V.</c:v>
                </c:pt>
                <c:pt idx="155">
                  <c:v>29-V.</c:v>
                </c:pt>
                <c:pt idx="156">
                  <c:v>30-V.</c:v>
                </c:pt>
                <c:pt idx="157">
                  <c:v>31-V.</c:v>
                </c:pt>
                <c:pt idx="158">
                  <c:v>1-VI.</c:v>
                </c:pt>
                <c:pt idx="159">
                  <c:v>2-VI.</c:v>
                </c:pt>
                <c:pt idx="160">
                  <c:v>3-VI.</c:v>
                </c:pt>
                <c:pt idx="161">
                  <c:v>4-VI.</c:v>
                </c:pt>
                <c:pt idx="162">
                  <c:v>5-VI.</c:v>
                </c:pt>
                <c:pt idx="163">
                  <c:v>6-VI.</c:v>
                </c:pt>
                <c:pt idx="164">
                  <c:v>7-VI.</c:v>
                </c:pt>
                <c:pt idx="165">
                  <c:v>8-VI.</c:v>
                </c:pt>
                <c:pt idx="166">
                  <c:v>9-VI.</c:v>
                </c:pt>
                <c:pt idx="167">
                  <c:v>10-VI.</c:v>
                </c:pt>
                <c:pt idx="168">
                  <c:v>11-VI.</c:v>
                </c:pt>
                <c:pt idx="169">
                  <c:v>12-VI.</c:v>
                </c:pt>
                <c:pt idx="170">
                  <c:v>13-VI.</c:v>
                </c:pt>
                <c:pt idx="171">
                  <c:v>14-VI.</c:v>
                </c:pt>
                <c:pt idx="172">
                  <c:v>15-VI.</c:v>
                </c:pt>
                <c:pt idx="173">
                  <c:v>16-VI.</c:v>
                </c:pt>
                <c:pt idx="174">
                  <c:v>17-VI.</c:v>
                </c:pt>
                <c:pt idx="175">
                  <c:v>18-VI.</c:v>
                </c:pt>
                <c:pt idx="176">
                  <c:v>19-VI.</c:v>
                </c:pt>
                <c:pt idx="177">
                  <c:v>20-VI.</c:v>
                </c:pt>
                <c:pt idx="178">
                  <c:v>21-VI.</c:v>
                </c:pt>
                <c:pt idx="179">
                  <c:v>22-VI.</c:v>
                </c:pt>
                <c:pt idx="180">
                  <c:v>23-VI.</c:v>
                </c:pt>
                <c:pt idx="181">
                  <c:v>24-VI.</c:v>
                </c:pt>
                <c:pt idx="182">
                  <c:v>25-VI.</c:v>
                </c:pt>
                <c:pt idx="183">
                  <c:v>26-VI.</c:v>
                </c:pt>
                <c:pt idx="184">
                  <c:v>27-VI.</c:v>
                </c:pt>
                <c:pt idx="185">
                  <c:v>28-VI.</c:v>
                </c:pt>
                <c:pt idx="186">
                  <c:v>29-VI.</c:v>
                </c:pt>
                <c:pt idx="187">
                  <c:v>30-VI.</c:v>
                </c:pt>
                <c:pt idx="188">
                  <c:v>1-VII.</c:v>
                </c:pt>
                <c:pt idx="189">
                  <c:v>2-VII.</c:v>
                </c:pt>
                <c:pt idx="190">
                  <c:v>3-VII.</c:v>
                </c:pt>
                <c:pt idx="191">
                  <c:v>4-VII.</c:v>
                </c:pt>
                <c:pt idx="192">
                  <c:v>5-VII.</c:v>
                </c:pt>
                <c:pt idx="193">
                  <c:v>6-VII.</c:v>
                </c:pt>
                <c:pt idx="194">
                  <c:v>7-VII.</c:v>
                </c:pt>
                <c:pt idx="195">
                  <c:v>8-VII.</c:v>
                </c:pt>
                <c:pt idx="196">
                  <c:v>9-VII.</c:v>
                </c:pt>
                <c:pt idx="197">
                  <c:v>10-VII.</c:v>
                </c:pt>
                <c:pt idx="198">
                  <c:v>11-VII.</c:v>
                </c:pt>
                <c:pt idx="199">
                  <c:v>12-VII.</c:v>
                </c:pt>
                <c:pt idx="200">
                  <c:v>13-VII.</c:v>
                </c:pt>
                <c:pt idx="201">
                  <c:v>14-VII.</c:v>
                </c:pt>
                <c:pt idx="202">
                  <c:v>15-VII.</c:v>
                </c:pt>
                <c:pt idx="203">
                  <c:v>16-VII.</c:v>
                </c:pt>
                <c:pt idx="204">
                  <c:v>17-VII.</c:v>
                </c:pt>
                <c:pt idx="205">
                  <c:v>18-VII.</c:v>
                </c:pt>
                <c:pt idx="206">
                  <c:v>19-VII.</c:v>
                </c:pt>
                <c:pt idx="207">
                  <c:v>20-VII.</c:v>
                </c:pt>
                <c:pt idx="208">
                  <c:v>21-VII.</c:v>
                </c:pt>
                <c:pt idx="209">
                  <c:v>22-VII.</c:v>
                </c:pt>
                <c:pt idx="210">
                  <c:v>23-VII.</c:v>
                </c:pt>
                <c:pt idx="211">
                  <c:v>24-VII.</c:v>
                </c:pt>
                <c:pt idx="212">
                  <c:v>25-VII.</c:v>
                </c:pt>
                <c:pt idx="213">
                  <c:v>26-VII.</c:v>
                </c:pt>
                <c:pt idx="214">
                  <c:v>27-VII.</c:v>
                </c:pt>
                <c:pt idx="215">
                  <c:v>28-VII.</c:v>
                </c:pt>
                <c:pt idx="216">
                  <c:v>29-VII.</c:v>
                </c:pt>
                <c:pt idx="217">
                  <c:v>30-VII.</c:v>
                </c:pt>
                <c:pt idx="218">
                  <c:v>31-VII.</c:v>
                </c:pt>
                <c:pt idx="219">
                  <c:v>1-VIII.</c:v>
                </c:pt>
                <c:pt idx="220">
                  <c:v>2-VIII.</c:v>
                </c:pt>
                <c:pt idx="221">
                  <c:v>3-VIII.</c:v>
                </c:pt>
                <c:pt idx="222">
                  <c:v>4-VIII.</c:v>
                </c:pt>
                <c:pt idx="223">
                  <c:v>5-VIII.</c:v>
                </c:pt>
                <c:pt idx="224">
                  <c:v>6-VIII.</c:v>
                </c:pt>
                <c:pt idx="225">
                  <c:v>7-VIII.</c:v>
                </c:pt>
                <c:pt idx="226">
                  <c:v>8-VIII.</c:v>
                </c:pt>
                <c:pt idx="227">
                  <c:v>9-VIII.</c:v>
                </c:pt>
                <c:pt idx="228">
                  <c:v>10-VIII.</c:v>
                </c:pt>
                <c:pt idx="229">
                  <c:v>11-VIII.</c:v>
                </c:pt>
                <c:pt idx="230">
                  <c:v>12-VIII.</c:v>
                </c:pt>
                <c:pt idx="231">
                  <c:v>13-VIII.</c:v>
                </c:pt>
                <c:pt idx="232">
                  <c:v>14-VIII.</c:v>
                </c:pt>
                <c:pt idx="233">
                  <c:v>15-VIII.</c:v>
                </c:pt>
                <c:pt idx="234">
                  <c:v>16-VIII.</c:v>
                </c:pt>
                <c:pt idx="235">
                  <c:v>17-VIII.</c:v>
                </c:pt>
                <c:pt idx="236">
                  <c:v>18-VIII.</c:v>
                </c:pt>
                <c:pt idx="237">
                  <c:v>19-VIII.</c:v>
                </c:pt>
                <c:pt idx="238">
                  <c:v>20-VIII.</c:v>
                </c:pt>
                <c:pt idx="239">
                  <c:v>21-VIII.</c:v>
                </c:pt>
                <c:pt idx="240">
                  <c:v>22-VIII.</c:v>
                </c:pt>
                <c:pt idx="241">
                  <c:v>23-VIII.</c:v>
                </c:pt>
                <c:pt idx="242">
                  <c:v>24-VIII.</c:v>
                </c:pt>
                <c:pt idx="243">
                  <c:v>25-VIII.</c:v>
                </c:pt>
                <c:pt idx="244">
                  <c:v>26-VIII.</c:v>
                </c:pt>
                <c:pt idx="245">
                  <c:v>27-VIII.</c:v>
                </c:pt>
                <c:pt idx="246">
                  <c:v>28-VIII.</c:v>
                </c:pt>
                <c:pt idx="247">
                  <c:v>29-VIII.</c:v>
                </c:pt>
                <c:pt idx="248">
                  <c:v>30-VIII.</c:v>
                </c:pt>
                <c:pt idx="249">
                  <c:v>31-VIII.</c:v>
                </c:pt>
                <c:pt idx="250">
                  <c:v>1-IX.</c:v>
                </c:pt>
                <c:pt idx="251">
                  <c:v>2-IX.</c:v>
                </c:pt>
                <c:pt idx="252">
                  <c:v>3-IX.</c:v>
                </c:pt>
                <c:pt idx="253">
                  <c:v>4-IX.</c:v>
                </c:pt>
                <c:pt idx="254">
                  <c:v>5-IX.</c:v>
                </c:pt>
                <c:pt idx="255">
                  <c:v>6-IX.</c:v>
                </c:pt>
                <c:pt idx="256">
                  <c:v>7-IX.</c:v>
                </c:pt>
                <c:pt idx="257">
                  <c:v>8-IX.</c:v>
                </c:pt>
                <c:pt idx="258">
                  <c:v>9-IX.</c:v>
                </c:pt>
                <c:pt idx="259">
                  <c:v>10-IX.</c:v>
                </c:pt>
                <c:pt idx="260">
                  <c:v>11-IX.</c:v>
                </c:pt>
                <c:pt idx="261">
                  <c:v>12-IX.</c:v>
                </c:pt>
                <c:pt idx="262">
                  <c:v>13-IX.</c:v>
                </c:pt>
                <c:pt idx="263">
                  <c:v>14-IX.</c:v>
                </c:pt>
                <c:pt idx="264">
                  <c:v>15-IX.</c:v>
                </c:pt>
                <c:pt idx="265">
                  <c:v>16-IX.</c:v>
                </c:pt>
                <c:pt idx="266">
                  <c:v>17-IX.</c:v>
                </c:pt>
                <c:pt idx="267">
                  <c:v>18-IX.</c:v>
                </c:pt>
                <c:pt idx="268">
                  <c:v>19-IX.</c:v>
                </c:pt>
                <c:pt idx="269">
                  <c:v>20-IX.</c:v>
                </c:pt>
                <c:pt idx="270">
                  <c:v>21-IX.</c:v>
                </c:pt>
                <c:pt idx="271">
                  <c:v>22-IX.</c:v>
                </c:pt>
                <c:pt idx="272">
                  <c:v>23-IX.</c:v>
                </c:pt>
                <c:pt idx="273">
                  <c:v>24-IX.</c:v>
                </c:pt>
                <c:pt idx="274">
                  <c:v>25-IX.</c:v>
                </c:pt>
                <c:pt idx="275">
                  <c:v>26-IX.</c:v>
                </c:pt>
                <c:pt idx="276">
                  <c:v>27-IX.</c:v>
                </c:pt>
                <c:pt idx="277">
                  <c:v>28-IX.</c:v>
                </c:pt>
                <c:pt idx="278">
                  <c:v>29-IX.</c:v>
                </c:pt>
                <c:pt idx="279">
                  <c:v>30-IX.</c:v>
                </c:pt>
                <c:pt idx="280">
                  <c:v>1-X.</c:v>
                </c:pt>
                <c:pt idx="281">
                  <c:v>2-X.</c:v>
                </c:pt>
                <c:pt idx="282">
                  <c:v>3-X.</c:v>
                </c:pt>
                <c:pt idx="283">
                  <c:v>4-X.</c:v>
                </c:pt>
                <c:pt idx="284">
                  <c:v>5-X.</c:v>
                </c:pt>
                <c:pt idx="285">
                  <c:v>6-X.</c:v>
                </c:pt>
                <c:pt idx="286">
                  <c:v>7-X.</c:v>
                </c:pt>
                <c:pt idx="287">
                  <c:v>8-X.</c:v>
                </c:pt>
                <c:pt idx="288">
                  <c:v>9-X.</c:v>
                </c:pt>
                <c:pt idx="289">
                  <c:v>10-X.</c:v>
                </c:pt>
                <c:pt idx="290">
                  <c:v>11-X.</c:v>
                </c:pt>
                <c:pt idx="291">
                  <c:v>12-X.</c:v>
                </c:pt>
                <c:pt idx="292">
                  <c:v>13-X.</c:v>
                </c:pt>
                <c:pt idx="293">
                  <c:v>14-X.</c:v>
                </c:pt>
                <c:pt idx="294">
                  <c:v>15-X.</c:v>
                </c:pt>
                <c:pt idx="295">
                  <c:v>16-X.</c:v>
                </c:pt>
                <c:pt idx="296">
                  <c:v>17-X.</c:v>
                </c:pt>
                <c:pt idx="297">
                  <c:v>18-X.</c:v>
                </c:pt>
                <c:pt idx="298">
                  <c:v>19-X.</c:v>
                </c:pt>
                <c:pt idx="299">
                  <c:v>20-X.</c:v>
                </c:pt>
                <c:pt idx="300">
                  <c:v>21-X.</c:v>
                </c:pt>
                <c:pt idx="301">
                  <c:v>22-X.</c:v>
                </c:pt>
                <c:pt idx="302">
                  <c:v>23-X.</c:v>
                </c:pt>
                <c:pt idx="303">
                  <c:v>24-X.</c:v>
                </c:pt>
                <c:pt idx="304">
                  <c:v>25-X.</c:v>
                </c:pt>
                <c:pt idx="305">
                  <c:v>26-X.</c:v>
                </c:pt>
                <c:pt idx="306">
                  <c:v>27-X.</c:v>
                </c:pt>
                <c:pt idx="307">
                  <c:v>28-X.</c:v>
                </c:pt>
                <c:pt idx="308">
                  <c:v>29-X.</c:v>
                </c:pt>
                <c:pt idx="309">
                  <c:v>30-X.</c:v>
                </c:pt>
                <c:pt idx="310">
                  <c:v>31-X.</c:v>
                </c:pt>
                <c:pt idx="311">
                  <c:v>1-XI.</c:v>
                </c:pt>
                <c:pt idx="312">
                  <c:v>2-XI.</c:v>
                </c:pt>
                <c:pt idx="313">
                  <c:v>3-XI.</c:v>
                </c:pt>
                <c:pt idx="314">
                  <c:v>4-XI.</c:v>
                </c:pt>
                <c:pt idx="315">
                  <c:v>5-XI.</c:v>
                </c:pt>
                <c:pt idx="316">
                  <c:v>6-XI.</c:v>
                </c:pt>
                <c:pt idx="317">
                  <c:v>7-XI.</c:v>
                </c:pt>
                <c:pt idx="318">
                  <c:v>8-XI.</c:v>
                </c:pt>
                <c:pt idx="319">
                  <c:v>9-XI.</c:v>
                </c:pt>
                <c:pt idx="320">
                  <c:v>10-XI.</c:v>
                </c:pt>
                <c:pt idx="321">
                  <c:v>11-XI.</c:v>
                </c:pt>
                <c:pt idx="322">
                  <c:v>12-XI.</c:v>
                </c:pt>
                <c:pt idx="323">
                  <c:v>13-XI.</c:v>
                </c:pt>
                <c:pt idx="324">
                  <c:v>14-XI.</c:v>
                </c:pt>
                <c:pt idx="325">
                  <c:v>15-XI.</c:v>
                </c:pt>
                <c:pt idx="326">
                  <c:v>16-XI.</c:v>
                </c:pt>
                <c:pt idx="327">
                  <c:v>17-XI.</c:v>
                </c:pt>
                <c:pt idx="328">
                  <c:v>18-XI.</c:v>
                </c:pt>
                <c:pt idx="329">
                  <c:v>19-XI.</c:v>
                </c:pt>
                <c:pt idx="330">
                  <c:v>20-XI.</c:v>
                </c:pt>
                <c:pt idx="331">
                  <c:v>21-XI.</c:v>
                </c:pt>
                <c:pt idx="332">
                  <c:v>22-XI.</c:v>
                </c:pt>
                <c:pt idx="333">
                  <c:v>23-XI.</c:v>
                </c:pt>
                <c:pt idx="334">
                  <c:v>24-XI.</c:v>
                </c:pt>
                <c:pt idx="335">
                  <c:v>25-XI.</c:v>
                </c:pt>
                <c:pt idx="336">
                  <c:v>26-XI.</c:v>
                </c:pt>
                <c:pt idx="337">
                  <c:v>27-XI.</c:v>
                </c:pt>
                <c:pt idx="338">
                  <c:v>28-XI.</c:v>
                </c:pt>
                <c:pt idx="339">
                  <c:v>29-XI.</c:v>
                </c:pt>
                <c:pt idx="340">
                  <c:v>30-XI.</c:v>
                </c:pt>
                <c:pt idx="341">
                  <c:v>1-XII.</c:v>
                </c:pt>
                <c:pt idx="342">
                  <c:v>2-XII.</c:v>
                </c:pt>
                <c:pt idx="343">
                  <c:v>3-XII.</c:v>
                </c:pt>
                <c:pt idx="344">
                  <c:v>4-XII.</c:v>
                </c:pt>
                <c:pt idx="345">
                  <c:v>5-XII.</c:v>
                </c:pt>
                <c:pt idx="346">
                  <c:v>6-XII.</c:v>
                </c:pt>
                <c:pt idx="347">
                  <c:v>7-XII.</c:v>
                </c:pt>
                <c:pt idx="348">
                  <c:v>8-XII.</c:v>
                </c:pt>
                <c:pt idx="349">
                  <c:v>9-XII.</c:v>
                </c:pt>
                <c:pt idx="350">
                  <c:v>10-XII.</c:v>
                </c:pt>
                <c:pt idx="351">
                  <c:v>11-XII.</c:v>
                </c:pt>
                <c:pt idx="352">
                  <c:v>12-XII.</c:v>
                </c:pt>
                <c:pt idx="353">
                  <c:v>13-XII.</c:v>
                </c:pt>
                <c:pt idx="354">
                  <c:v>14-XII.</c:v>
                </c:pt>
                <c:pt idx="355">
                  <c:v>15-XII.</c:v>
                </c:pt>
                <c:pt idx="356">
                  <c:v>16-XII.</c:v>
                </c:pt>
                <c:pt idx="357">
                  <c:v>17-XII.</c:v>
                </c:pt>
              </c:strCache>
            </c:strRef>
          </c:cat>
          <c:val>
            <c:numRef>
              <c:f>List1!$G$4:$MZ$4</c:f>
              <c:numCache>
                <c:formatCode>General</c:formatCode>
                <c:ptCount val="358"/>
                <c:pt idx="2">
                  <c:v>194</c:v>
                </c:pt>
                <c:pt idx="3">
                  <c:v>641</c:v>
                </c:pt>
                <c:pt idx="4">
                  <c:v>1250</c:v>
                </c:pt>
                <c:pt idx="5">
                  <c:v>1874</c:v>
                </c:pt>
                <c:pt idx="6">
                  <c:v>2047</c:v>
                </c:pt>
                <c:pt idx="7">
                  <c:v>2076</c:v>
                </c:pt>
                <c:pt idx="8">
                  <c:v>2364</c:v>
                </c:pt>
                <c:pt idx="9">
                  <c:v>2575</c:v>
                </c:pt>
                <c:pt idx="10">
                  <c:v>3202</c:v>
                </c:pt>
                <c:pt idx="11">
                  <c:v>4166</c:v>
                </c:pt>
                <c:pt idx="12">
                  <c:v>5583</c:v>
                </c:pt>
                <c:pt idx="13">
                  <c:v>7183</c:v>
                </c:pt>
                <c:pt idx="14">
                  <c:v>9031</c:v>
                </c:pt>
                <c:pt idx="15">
                  <c:v>9339</c:v>
                </c:pt>
                <c:pt idx="16">
                  <c:v>9649</c:v>
                </c:pt>
                <c:pt idx="17">
                  <c:v>11516</c:v>
                </c:pt>
                <c:pt idx="18">
                  <c:v>13798</c:v>
                </c:pt>
                <c:pt idx="19">
                  <c:v>15841</c:v>
                </c:pt>
                <c:pt idx="20">
                  <c:v>17730</c:v>
                </c:pt>
                <c:pt idx="21">
                  <c:v>19340</c:v>
                </c:pt>
                <c:pt idx="22">
                  <c:v>19560</c:v>
                </c:pt>
                <c:pt idx="23">
                  <c:v>19656</c:v>
                </c:pt>
                <c:pt idx="24">
                  <c:v>20832</c:v>
                </c:pt>
                <c:pt idx="25">
                  <c:v>21767</c:v>
                </c:pt>
                <c:pt idx="26">
                  <c:v>22710</c:v>
                </c:pt>
                <c:pt idx="27">
                  <c:v>23567</c:v>
                </c:pt>
                <c:pt idx="28">
                  <c:v>24318</c:v>
                </c:pt>
                <c:pt idx="29">
                  <c:v>24382</c:v>
                </c:pt>
                <c:pt idx="30">
                  <c:v>24426</c:v>
                </c:pt>
                <c:pt idx="31">
                  <c:v>24877</c:v>
                </c:pt>
                <c:pt idx="32">
                  <c:v>25331</c:v>
                </c:pt>
                <c:pt idx="33">
                  <c:v>25727</c:v>
                </c:pt>
                <c:pt idx="34">
                  <c:v>26129</c:v>
                </c:pt>
                <c:pt idx="35">
                  <c:v>26513</c:v>
                </c:pt>
                <c:pt idx="36">
                  <c:v>26537</c:v>
                </c:pt>
                <c:pt idx="37">
                  <c:v>26569</c:v>
                </c:pt>
                <c:pt idx="38">
                  <c:v>26861</c:v>
                </c:pt>
                <c:pt idx="39">
                  <c:v>27151</c:v>
                </c:pt>
                <c:pt idx="40">
                  <c:v>27384</c:v>
                </c:pt>
                <c:pt idx="41">
                  <c:v>27568</c:v>
                </c:pt>
                <c:pt idx="42">
                  <c:v>27803</c:v>
                </c:pt>
                <c:pt idx="43">
                  <c:v>27812</c:v>
                </c:pt>
                <c:pt idx="44">
                  <c:v>27830</c:v>
                </c:pt>
                <c:pt idx="45">
                  <c:v>28067</c:v>
                </c:pt>
                <c:pt idx="46">
                  <c:v>28262</c:v>
                </c:pt>
                <c:pt idx="47">
                  <c:v>28529</c:v>
                </c:pt>
                <c:pt idx="48">
                  <c:v>28879</c:v>
                </c:pt>
                <c:pt idx="49">
                  <c:v>29271</c:v>
                </c:pt>
                <c:pt idx="50">
                  <c:v>29382</c:v>
                </c:pt>
                <c:pt idx="51">
                  <c:v>29448</c:v>
                </c:pt>
                <c:pt idx="52">
                  <c:v>29862</c:v>
                </c:pt>
                <c:pt idx="53">
                  <c:v>30369</c:v>
                </c:pt>
                <c:pt idx="54">
                  <c:v>30915</c:v>
                </c:pt>
                <c:pt idx="55">
                  <c:v>31473</c:v>
                </c:pt>
                <c:pt idx="56">
                  <c:v>32128</c:v>
                </c:pt>
                <c:pt idx="57">
                  <c:v>32354</c:v>
                </c:pt>
                <c:pt idx="58">
                  <c:v>32411</c:v>
                </c:pt>
                <c:pt idx="59">
                  <c:v>33097</c:v>
                </c:pt>
                <c:pt idx="60">
                  <c:v>34097</c:v>
                </c:pt>
                <c:pt idx="61">
                  <c:v>35174</c:v>
                </c:pt>
                <c:pt idx="62">
                  <c:v>36324</c:v>
                </c:pt>
                <c:pt idx="63">
                  <c:v>37400</c:v>
                </c:pt>
                <c:pt idx="64">
                  <c:v>37559</c:v>
                </c:pt>
                <c:pt idx="65">
                  <c:v>37689</c:v>
                </c:pt>
                <c:pt idx="66">
                  <c:v>38802</c:v>
                </c:pt>
                <c:pt idx="67">
                  <c:v>40012</c:v>
                </c:pt>
                <c:pt idx="68">
                  <c:v>41124</c:v>
                </c:pt>
                <c:pt idx="69">
                  <c:v>42125</c:v>
                </c:pt>
                <c:pt idx="70">
                  <c:v>43311</c:v>
                </c:pt>
                <c:pt idx="71">
                  <c:v>43599</c:v>
                </c:pt>
                <c:pt idx="72">
                  <c:v>43814</c:v>
                </c:pt>
                <c:pt idx="73">
                  <c:v>44659</c:v>
                </c:pt>
                <c:pt idx="74">
                  <c:v>45481</c:v>
                </c:pt>
                <c:pt idx="75">
                  <c:v>46377</c:v>
                </c:pt>
                <c:pt idx="76">
                  <c:v>47575</c:v>
                </c:pt>
                <c:pt idx="77">
                  <c:v>48687</c:v>
                </c:pt>
                <c:pt idx="78">
                  <c:v>48971</c:v>
                </c:pt>
                <c:pt idx="79">
                  <c:v>49212</c:v>
                </c:pt>
                <c:pt idx="80">
                  <c:v>49841</c:v>
                </c:pt>
                <c:pt idx="81">
                  <c:v>50771</c:v>
                </c:pt>
                <c:pt idx="82">
                  <c:v>51710</c:v>
                </c:pt>
                <c:pt idx="83">
                  <c:v>52488</c:v>
                </c:pt>
                <c:pt idx="84">
                  <c:v>53445</c:v>
                </c:pt>
                <c:pt idx="85">
                  <c:v>53845</c:v>
                </c:pt>
                <c:pt idx="86">
                  <c:v>54051</c:v>
                </c:pt>
                <c:pt idx="87">
                  <c:v>54500</c:v>
                </c:pt>
                <c:pt idx="88">
                  <c:v>54994</c:v>
                </c:pt>
                <c:pt idx="89">
                  <c:v>55411</c:v>
                </c:pt>
                <c:pt idx="90">
                  <c:v>55959</c:v>
                </c:pt>
                <c:pt idx="91">
                  <c:v>56537</c:v>
                </c:pt>
                <c:pt idx="92">
                  <c:v>56697</c:v>
                </c:pt>
                <c:pt idx="93">
                  <c:v>56833</c:v>
                </c:pt>
                <c:pt idx="94">
                  <c:v>57144</c:v>
                </c:pt>
                <c:pt idx="95">
                  <c:v>57566</c:v>
                </c:pt>
                <c:pt idx="96">
                  <c:v>58062</c:v>
                </c:pt>
                <c:pt idx="97">
                  <c:v>58492</c:v>
                </c:pt>
                <c:pt idx="98">
                  <c:v>58579</c:v>
                </c:pt>
                <c:pt idx="99">
                  <c:v>58637</c:v>
                </c:pt>
                <c:pt idx="100">
                  <c:v>58675</c:v>
                </c:pt>
                <c:pt idx="101">
                  <c:v>58704</c:v>
                </c:pt>
                <c:pt idx="102">
                  <c:v>58934</c:v>
                </c:pt>
                <c:pt idx="103">
                  <c:v>59197</c:v>
                </c:pt>
                <c:pt idx="104">
                  <c:v>59735</c:v>
                </c:pt>
                <c:pt idx="105">
                  <c:v>60236</c:v>
                </c:pt>
                <c:pt idx="106">
                  <c:v>60409</c:v>
                </c:pt>
                <c:pt idx="107">
                  <c:v>60524</c:v>
                </c:pt>
                <c:pt idx="108">
                  <c:v>60899</c:v>
                </c:pt>
                <c:pt idx="109">
                  <c:v>61211</c:v>
                </c:pt>
                <c:pt idx="110">
                  <c:v>61597</c:v>
                </c:pt>
                <c:pt idx="111">
                  <c:v>62147</c:v>
                </c:pt>
                <c:pt idx="112">
                  <c:v>62795</c:v>
                </c:pt>
                <c:pt idx="113">
                  <c:v>62972</c:v>
                </c:pt>
                <c:pt idx="114">
                  <c:v>63166</c:v>
                </c:pt>
                <c:pt idx="115">
                  <c:v>63622</c:v>
                </c:pt>
                <c:pt idx="116">
                  <c:v>64048</c:v>
                </c:pt>
                <c:pt idx="117">
                  <c:v>64546</c:v>
                </c:pt>
                <c:pt idx="118">
                  <c:v>65147</c:v>
                </c:pt>
                <c:pt idx="119">
                  <c:v>65796</c:v>
                </c:pt>
                <c:pt idx="120">
                  <c:v>65981</c:v>
                </c:pt>
                <c:pt idx="121">
                  <c:v>66132</c:v>
                </c:pt>
                <c:pt idx="122">
                  <c:v>66615</c:v>
                </c:pt>
                <c:pt idx="123">
                  <c:v>67038</c:v>
                </c:pt>
                <c:pt idx="124">
                  <c:v>67606</c:v>
                </c:pt>
                <c:pt idx="125">
                  <c:v>68192</c:v>
                </c:pt>
                <c:pt idx="126">
                  <c:v>68809</c:v>
                </c:pt>
                <c:pt idx="127">
                  <c:v>68963</c:v>
                </c:pt>
                <c:pt idx="128">
                  <c:v>69119</c:v>
                </c:pt>
                <c:pt idx="129">
                  <c:v>69574</c:v>
                </c:pt>
                <c:pt idx="130">
                  <c:v>70030</c:v>
                </c:pt>
                <c:pt idx="131">
                  <c:v>70556</c:v>
                </c:pt>
                <c:pt idx="132">
                  <c:v>71087</c:v>
                </c:pt>
                <c:pt idx="133">
                  <c:v>71651</c:v>
                </c:pt>
                <c:pt idx="134">
                  <c:v>71875</c:v>
                </c:pt>
                <c:pt idx="135">
                  <c:v>72046</c:v>
                </c:pt>
                <c:pt idx="136">
                  <c:v>72523</c:v>
                </c:pt>
                <c:pt idx="137">
                  <c:v>72955</c:v>
                </c:pt>
                <c:pt idx="138">
                  <c:v>73432</c:v>
                </c:pt>
                <c:pt idx="139">
                  <c:v>73979</c:v>
                </c:pt>
                <c:pt idx="140">
                  <c:v>74489</c:v>
                </c:pt>
                <c:pt idx="141">
                  <c:v>74700</c:v>
                </c:pt>
                <c:pt idx="142">
                  <c:v>74852</c:v>
                </c:pt>
                <c:pt idx="143">
                  <c:v>75242</c:v>
                </c:pt>
                <c:pt idx="144">
                  <c:v>75660</c:v>
                </c:pt>
                <c:pt idx="145">
                  <c:v>76123</c:v>
                </c:pt>
                <c:pt idx="146">
                  <c:v>76568</c:v>
                </c:pt>
                <c:pt idx="147">
                  <c:v>77023</c:v>
                </c:pt>
                <c:pt idx="148">
                  <c:v>77201</c:v>
                </c:pt>
                <c:pt idx="149">
                  <c:v>77316</c:v>
                </c:pt>
                <c:pt idx="150">
                  <c:v>77605</c:v>
                </c:pt>
                <c:pt idx="151">
                  <c:v>77933</c:v>
                </c:pt>
                <c:pt idx="152">
                  <c:v>78345</c:v>
                </c:pt>
                <c:pt idx="153">
                  <c:v>78721</c:v>
                </c:pt>
                <c:pt idx="154">
                  <c:v>79159</c:v>
                </c:pt>
                <c:pt idx="155">
                  <c:v>79347</c:v>
                </c:pt>
                <c:pt idx="156">
                  <c:v>79514</c:v>
                </c:pt>
                <c:pt idx="157">
                  <c:v>79857</c:v>
                </c:pt>
                <c:pt idx="158">
                  <c:v>80230</c:v>
                </c:pt>
                <c:pt idx="159">
                  <c:v>80683</c:v>
                </c:pt>
                <c:pt idx="160">
                  <c:v>81100</c:v>
                </c:pt>
                <c:pt idx="161">
                  <c:v>81566</c:v>
                </c:pt>
                <c:pt idx="162">
                  <c:v>81826</c:v>
                </c:pt>
                <c:pt idx="163">
                  <c:v>82069</c:v>
                </c:pt>
                <c:pt idx="164">
                  <c:v>82549</c:v>
                </c:pt>
                <c:pt idx="165">
                  <c:v>83097</c:v>
                </c:pt>
                <c:pt idx="166">
                  <c:v>83587</c:v>
                </c:pt>
                <c:pt idx="167">
                  <c:v>84021</c:v>
                </c:pt>
                <c:pt idx="168">
                  <c:v>84484</c:v>
                </c:pt>
                <c:pt idx="169">
                  <c:v>84774</c:v>
                </c:pt>
                <c:pt idx="170">
                  <c:v>85002</c:v>
                </c:pt>
                <c:pt idx="171">
                  <c:v>85358</c:v>
                </c:pt>
                <c:pt idx="172">
                  <c:v>85792</c:v>
                </c:pt>
                <c:pt idx="173">
                  <c:v>86181</c:v>
                </c:pt>
                <c:pt idx="174">
                  <c:v>86549</c:v>
                </c:pt>
                <c:pt idx="175">
                  <c:v>86930</c:v>
                </c:pt>
                <c:pt idx="176">
                  <c:v>87119</c:v>
                </c:pt>
                <c:pt idx="177">
                  <c:v>87261</c:v>
                </c:pt>
                <c:pt idx="178">
                  <c:v>87558</c:v>
                </c:pt>
                <c:pt idx="179">
                  <c:v>87876</c:v>
                </c:pt>
                <c:pt idx="180">
                  <c:v>88132</c:v>
                </c:pt>
                <c:pt idx="181">
                  <c:v>88423</c:v>
                </c:pt>
                <c:pt idx="182">
                  <c:v>88681</c:v>
                </c:pt>
                <c:pt idx="183">
                  <c:v>88833</c:v>
                </c:pt>
                <c:pt idx="184">
                  <c:v>88945</c:v>
                </c:pt>
                <c:pt idx="185">
                  <c:v>89218</c:v>
                </c:pt>
                <c:pt idx="186">
                  <c:v>89467</c:v>
                </c:pt>
                <c:pt idx="187">
                  <c:v>89710</c:v>
                </c:pt>
                <c:pt idx="188">
                  <c:v>89887</c:v>
                </c:pt>
                <c:pt idx="189">
                  <c:v>90124</c:v>
                </c:pt>
                <c:pt idx="190">
                  <c:v>90176</c:v>
                </c:pt>
                <c:pt idx="191">
                  <c:v>90236</c:v>
                </c:pt>
                <c:pt idx="192">
                  <c:v>90294</c:v>
                </c:pt>
                <c:pt idx="193">
                  <c:v>90355</c:v>
                </c:pt>
                <c:pt idx="194">
                  <c:v>90566</c:v>
                </c:pt>
                <c:pt idx="195">
                  <c:v>90784</c:v>
                </c:pt>
                <c:pt idx="196">
                  <c:v>91010</c:v>
                </c:pt>
                <c:pt idx="197">
                  <c:v>91103</c:v>
                </c:pt>
                <c:pt idx="198">
                  <c:v>91161</c:v>
                </c:pt>
                <c:pt idx="199">
                  <c:v>91396</c:v>
                </c:pt>
                <c:pt idx="200">
                  <c:v>91616</c:v>
                </c:pt>
                <c:pt idx="201">
                  <c:v>91856</c:v>
                </c:pt>
                <c:pt idx="202">
                  <c:v>92103</c:v>
                </c:pt>
                <c:pt idx="203">
                  <c:v>92355</c:v>
                </c:pt>
                <c:pt idx="204">
                  <c:v>92464</c:v>
                </c:pt>
                <c:pt idx="205">
                  <c:v>92533</c:v>
                </c:pt>
                <c:pt idx="206">
                  <c:v>92735</c:v>
                </c:pt>
                <c:pt idx="207">
                  <c:v>92896</c:v>
                </c:pt>
                <c:pt idx="208">
                  <c:v>93116</c:v>
                </c:pt>
                <c:pt idx="209">
                  <c:v>93297</c:v>
                </c:pt>
                <c:pt idx="210">
                  <c:v>93510</c:v>
                </c:pt>
                <c:pt idx="211">
                  <c:v>93572</c:v>
                </c:pt>
                <c:pt idx="212">
                  <c:v>93627</c:v>
                </c:pt>
                <c:pt idx="213">
                  <c:v>93807</c:v>
                </c:pt>
                <c:pt idx="214">
                  <c:v>94007</c:v>
                </c:pt>
                <c:pt idx="215">
                  <c:v>94183</c:v>
                </c:pt>
                <c:pt idx="216">
                  <c:v>94342</c:v>
                </c:pt>
                <c:pt idx="217">
                  <c:v>94554</c:v>
                </c:pt>
                <c:pt idx="218">
                  <c:v>94620</c:v>
                </c:pt>
                <c:pt idx="219">
                  <c:v>94669</c:v>
                </c:pt>
                <c:pt idx="220">
                  <c:v>94816</c:v>
                </c:pt>
                <c:pt idx="221">
                  <c:v>94946</c:v>
                </c:pt>
                <c:pt idx="222">
                  <c:v>95090</c:v>
                </c:pt>
                <c:pt idx="223">
                  <c:v>95216</c:v>
                </c:pt>
                <c:pt idx="224">
                  <c:v>95345</c:v>
                </c:pt>
                <c:pt idx="225">
                  <c:v>95383</c:v>
                </c:pt>
                <c:pt idx="226">
                  <c:v>95417</c:v>
                </c:pt>
                <c:pt idx="227">
                  <c:v>95521</c:v>
                </c:pt>
                <c:pt idx="228">
                  <c:v>95637</c:v>
                </c:pt>
                <c:pt idx="229">
                  <c:v>95710</c:v>
                </c:pt>
                <c:pt idx="230">
                  <c:v>95815</c:v>
                </c:pt>
                <c:pt idx="231">
                  <c:v>95919</c:v>
                </c:pt>
                <c:pt idx="232">
                  <c:v>95945</c:v>
                </c:pt>
                <c:pt idx="233">
                  <c:v>95964</c:v>
                </c:pt>
                <c:pt idx="234">
                  <c:v>96046</c:v>
                </c:pt>
                <c:pt idx="235">
                  <c:v>96125</c:v>
                </c:pt>
                <c:pt idx="236">
                  <c:v>96206</c:v>
                </c:pt>
                <c:pt idx="237">
                  <c:v>96278</c:v>
                </c:pt>
                <c:pt idx="238">
                  <c:v>96377</c:v>
                </c:pt>
                <c:pt idx="239">
                  <c:v>96395</c:v>
                </c:pt>
                <c:pt idx="240">
                  <c:v>96414</c:v>
                </c:pt>
                <c:pt idx="241">
                  <c:v>96508</c:v>
                </c:pt>
                <c:pt idx="242">
                  <c:v>96583</c:v>
                </c:pt>
                <c:pt idx="243">
                  <c:v>96659</c:v>
                </c:pt>
                <c:pt idx="244">
                  <c:v>96722</c:v>
                </c:pt>
                <c:pt idx="245">
                  <c:v>96824</c:v>
                </c:pt>
                <c:pt idx="246">
                  <c:v>96850</c:v>
                </c:pt>
                <c:pt idx="247">
                  <c:v>96860</c:v>
                </c:pt>
                <c:pt idx="248">
                  <c:v>96939</c:v>
                </c:pt>
                <c:pt idx="249">
                  <c:v>97018</c:v>
                </c:pt>
                <c:pt idx="250">
                  <c:v>97066</c:v>
                </c:pt>
                <c:pt idx="251">
                  <c:v>97140</c:v>
                </c:pt>
                <c:pt idx="252">
                  <c:v>97234</c:v>
                </c:pt>
                <c:pt idx="253">
                  <c:v>97249</c:v>
                </c:pt>
                <c:pt idx="254">
                  <c:v>97267</c:v>
                </c:pt>
                <c:pt idx="255">
                  <c:v>97331</c:v>
                </c:pt>
                <c:pt idx="256">
                  <c:v>97366</c:v>
                </c:pt>
                <c:pt idx="257">
                  <c:v>97419</c:v>
                </c:pt>
                <c:pt idx="258">
                  <c:v>97478</c:v>
                </c:pt>
                <c:pt idx="259">
                  <c:v>97548</c:v>
                </c:pt>
                <c:pt idx="260">
                  <c:v>97564</c:v>
                </c:pt>
                <c:pt idx="261">
                  <c:v>97577</c:v>
                </c:pt>
                <c:pt idx="262">
                  <c:v>97625</c:v>
                </c:pt>
                <c:pt idx="263">
                  <c:v>97676</c:v>
                </c:pt>
                <c:pt idx="264">
                  <c:v>97719</c:v>
                </c:pt>
                <c:pt idx="265">
                  <c:v>97765</c:v>
                </c:pt>
                <c:pt idx="266">
                  <c:v>97837</c:v>
                </c:pt>
                <c:pt idx="267">
                  <c:v>97856</c:v>
                </c:pt>
                <c:pt idx="268">
                  <c:v>97862</c:v>
                </c:pt>
                <c:pt idx="269">
                  <c:v>97906</c:v>
                </c:pt>
                <c:pt idx="270">
                  <c:v>97953</c:v>
                </c:pt>
                <c:pt idx="271">
                  <c:v>97996</c:v>
                </c:pt>
                <c:pt idx="272">
                  <c:v>98053</c:v>
                </c:pt>
                <c:pt idx="273">
                  <c:v>98122</c:v>
                </c:pt>
                <c:pt idx="274">
                  <c:v>98138</c:v>
                </c:pt>
                <c:pt idx="275">
                  <c:v>98144</c:v>
                </c:pt>
                <c:pt idx="276">
                  <c:v>98186</c:v>
                </c:pt>
                <c:pt idx="277">
                  <c:v>98192</c:v>
                </c:pt>
                <c:pt idx="278">
                  <c:v>98219</c:v>
                </c:pt>
                <c:pt idx="279">
                  <c:v>98265</c:v>
                </c:pt>
                <c:pt idx="280">
                  <c:v>98303</c:v>
                </c:pt>
                <c:pt idx="281">
                  <c:v>98311</c:v>
                </c:pt>
                <c:pt idx="282">
                  <c:v>98318</c:v>
                </c:pt>
                <c:pt idx="283">
                  <c:v>98348</c:v>
                </c:pt>
                <c:pt idx="284">
                  <c:v>98376</c:v>
                </c:pt>
                <c:pt idx="285">
                  <c:v>98414</c:v>
                </c:pt>
                <c:pt idx="286">
                  <c:v>98438</c:v>
                </c:pt>
                <c:pt idx="287">
                  <c:v>98486</c:v>
                </c:pt>
                <c:pt idx="288">
                  <c:v>98495</c:v>
                </c:pt>
                <c:pt idx="289">
                  <c:v>98502</c:v>
                </c:pt>
                <c:pt idx="290">
                  <c:v>98530</c:v>
                </c:pt>
                <c:pt idx="291">
                  <c:v>98576</c:v>
                </c:pt>
                <c:pt idx="292">
                  <c:v>98613</c:v>
                </c:pt>
                <c:pt idx="293">
                  <c:v>98641</c:v>
                </c:pt>
                <c:pt idx="294">
                  <c:v>98699</c:v>
                </c:pt>
                <c:pt idx="295">
                  <c:v>98716</c:v>
                </c:pt>
                <c:pt idx="296">
                  <c:v>98727</c:v>
                </c:pt>
                <c:pt idx="297">
                  <c:v>98785</c:v>
                </c:pt>
                <c:pt idx="298">
                  <c:v>98817</c:v>
                </c:pt>
                <c:pt idx="299">
                  <c:v>98876</c:v>
                </c:pt>
                <c:pt idx="300">
                  <c:v>98976</c:v>
                </c:pt>
                <c:pt idx="301">
                  <c:v>99119</c:v>
                </c:pt>
                <c:pt idx="302">
                  <c:v>99169</c:v>
                </c:pt>
                <c:pt idx="303">
                  <c:v>99203</c:v>
                </c:pt>
                <c:pt idx="304">
                  <c:v>99320</c:v>
                </c:pt>
                <c:pt idx="305">
                  <c:v>99476</c:v>
                </c:pt>
                <c:pt idx="306">
                  <c:v>99646</c:v>
                </c:pt>
                <c:pt idx="307">
                  <c:v>99685</c:v>
                </c:pt>
                <c:pt idx="308">
                  <c:v>99866</c:v>
                </c:pt>
                <c:pt idx="309">
                  <c:v>99916</c:v>
                </c:pt>
                <c:pt idx="310">
                  <c:v>99951</c:v>
                </c:pt>
                <c:pt idx="311">
                  <c:v>100155</c:v>
                </c:pt>
                <c:pt idx="312">
                  <c:v>100333</c:v>
                </c:pt>
                <c:pt idx="313">
                  <c:v>100524</c:v>
                </c:pt>
                <c:pt idx="314">
                  <c:v>100734</c:v>
                </c:pt>
                <c:pt idx="315">
                  <c:v>100986</c:v>
                </c:pt>
                <c:pt idx="316">
                  <c:v>101059</c:v>
                </c:pt>
                <c:pt idx="317">
                  <c:v>101103</c:v>
                </c:pt>
                <c:pt idx="318">
                  <c:v>101285</c:v>
                </c:pt>
                <c:pt idx="319">
                  <c:v>101435</c:v>
                </c:pt>
                <c:pt idx="320">
                  <c:v>101599</c:v>
                </c:pt>
                <c:pt idx="321">
                  <c:v>101786</c:v>
                </c:pt>
                <c:pt idx="322">
                  <c:v>102051</c:v>
                </c:pt>
                <c:pt idx="323">
                  <c:v>102105</c:v>
                </c:pt>
                <c:pt idx="324">
                  <c:v>102143</c:v>
                </c:pt>
                <c:pt idx="325">
                  <c:v>102326</c:v>
                </c:pt>
                <c:pt idx="326">
                  <c:v>102535</c:v>
                </c:pt>
                <c:pt idx="327">
                  <c:v>102575</c:v>
                </c:pt>
                <c:pt idx="328">
                  <c:v>102814</c:v>
                </c:pt>
                <c:pt idx="329">
                  <c:v>103093</c:v>
                </c:pt>
                <c:pt idx="330">
                  <c:v>103171</c:v>
                </c:pt>
                <c:pt idx="331">
                  <c:v>103235</c:v>
                </c:pt>
                <c:pt idx="332">
                  <c:v>103416</c:v>
                </c:pt>
                <c:pt idx="333">
                  <c:v>103610</c:v>
                </c:pt>
                <c:pt idx="334">
                  <c:v>103809</c:v>
                </c:pt>
                <c:pt idx="335">
                  <c:v>104020</c:v>
                </c:pt>
                <c:pt idx="336">
                  <c:v>104240</c:v>
                </c:pt>
                <c:pt idx="337">
                  <c:v>104318</c:v>
                </c:pt>
                <c:pt idx="338">
                  <c:v>104340</c:v>
                </c:pt>
                <c:pt idx="339">
                  <c:v>104508</c:v>
                </c:pt>
                <c:pt idx="340">
                  <c:v>104652</c:v>
                </c:pt>
                <c:pt idx="341">
                  <c:v>104809</c:v>
                </c:pt>
                <c:pt idx="342">
                  <c:v>104922</c:v>
                </c:pt>
                <c:pt idx="343">
                  <c:v>105040</c:v>
                </c:pt>
                <c:pt idx="344">
                  <c:v>105060</c:v>
                </c:pt>
                <c:pt idx="345">
                  <c:v>105068</c:v>
                </c:pt>
                <c:pt idx="346">
                  <c:v>105141</c:v>
                </c:pt>
                <c:pt idx="347">
                  <c:v>105217</c:v>
                </c:pt>
                <c:pt idx="348">
                  <c:v>105305</c:v>
                </c:pt>
                <c:pt idx="349">
                  <c:v>105380</c:v>
                </c:pt>
                <c:pt idx="350">
                  <c:v>105465</c:v>
                </c:pt>
                <c:pt idx="351">
                  <c:v>105484</c:v>
                </c:pt>
                <c:pt idx="352">
                  <c:v>105498</c:v>
                </c:pt>
                <c:pt idx="353">
                  <c:v>105573</c:v>
                </c:pt>
                <c:pt idx="354">
                  <c:v>105648</c:v>
                </c:pt>
                <c:pt idx="355">
                  <c:v>105693</c:v>
                </c:pt>
                <c:pt idx="356">
                  <c:v>105766</c:v>
                </c:pt>
                <c:pt idx="357">
                  <c:v>1058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G$1:$MZ$1</c:f>
              <c:strCache>
                <c:ptCount val="358"/>
                <c:pt idx="0">
                  <c:v>25-XII.</c:v>
                </c:pt>
                <c:pt idx="1">
                  <c:v>26-XII.</c:v>
                </c:pt>
                <c:pt idx="2">
                  <c:v>27-XII.</c:v>
                </c:pt>
                <c:pt idx="3">
                  <c:v>28-XII.</c:v>
                </c:pt>
                <c:pt idx="4">
                  <c:v>29-XII.</c:v>
                </c:pt>
                <c:pt idx="5">
                  <c:v>30-XII.</c:v>
                </c:pt>
                <c:pt idx="6">
                  <c:v>31-XII.</c:v>
                </c:pt>
                <c:pt idx="7">
                  <c:v>1-I.</c:v>
                </c:pt>
                <c:pt idx="8">
                  <c:v>2-I.</c:v>
                </c:pt>
                <c:pt idx="9">
                  <c:v>3-I.</c:v>
                </c:pt>
                <c:pt idx="10">
                  <c:v>4-I.</c:v>
                </c:pt>
                <c:pt idx="11">
                  <c:v>5-I.</c:v>
                </c:pt>
                <c:pt idx="12">
                  <c:v>6-I.</c:v>
                </c:pt>
                <c:pt idx="13">
                  <c:v>7-I.</c:v>
                </c:pt>
                <c:pt idx="14">
                  <c:v>8-I.</c:v>
                </c:pt>
                <c:pt idx="15">
                  <c:v>9-I.</c:v>
                </c:pt>
                <c:pt idx="16">
                  <c:v>10-I.</c:v>
                </c:pt>
                <c:pt idx="17">
                  <c:v>11-I.</c:v>
                </c:pt>
                <c:pt idx="18">
                  <c:v>12-I.</c:v>
                </c:pt>
                <c:pt idx="19">
                  <c:v>13-I.</c:v>
                </c:pt>
                <c:pt idx="20">
                  <c:v>14-I.</c:v>
                </c:pt>
                <c:pt idx="21">
                  <c:v>15-I.</c:v>
                </c:pt>
                <c:pt idx="22">
                  <c:v>16-I.</c:v>
                </c:pt>
                <c:pt idx="23">
                  <c:v>17-I.</c:v>
                </c:pt>
                <c:pt idx="24">
                  <c:v>18-I.</c:v>
                </c:pt>
                <c:pt idx="25">
                  <c:v>19-I.</c:v>
                </c:pt>
                <c:pt idx="26">
                  <c:v>20-I.</c:v>
                </c:pt>
                <c:pt idx="27">
                  <c:v>21-I.</c:v>
                </c:pt>
                <c:pt idx="28">
                  <c:v>22-I.</c:v>
                </c:pt>
                <c:pt idx="29">
                  <c:v>23-I.</c:v>
                </c:pt>
                <c:pt idx="30">
                  <c:v>24-I.</c:v>
                </c:pt>
                <c:pt idx="31">
                  <c:v>25-I.</c:v>
                </c:pt>
                <c:pt idx="32">
                  <c:v>26-I.</c:v>
                </c:pt>
                <c:pt idx="33">
                  <c:v>27-I.</c:v>
                </c:pt>
                <c:pt idx="34">
                  <c:v>28-I.</c:v>
                </c:pt>
                <c:pt idx="35">
                  <c:v>29-I.</c:v>
                </c:pt>
                <c:pt idx="36">
                  <c:v>30-I.</c:v>
                </c:pt>
                <c:pt idx="37">
                  <c:v>31-I.</c:v>
                </c:pt>
                <c:pt idx="38">
                  <c:v>1-II.</c:v>
                </c:pt>
                <c:pt idx="39">
                  <c:v>2-II.</c:v>
                </c:pt>
                <c:pt idx="40">
                  <c:v>3-II.</c:v>
                </c:pt>
                <c:pt idx="41">
                  <c:v>4-II.</c:v>
                </c:pt>
                <c:pt idx="42">
                  <c:v>5-II.</c:v>
                </c:pt>
                <c:pt idx="43">
                  <c:v>6-II.</c:v>
                </c:pt>
                <c:pt idx="44">
                  <c:v>7-II.</c:v>
                </c:pt>
                <c:pt idx="45">
                  <c:v>8-II.</c:v>
                </c:pt>
                <c:pt idx="46">
                  <c:v>9-II.</c:v>
                </c:pt>
                <c:pt idx="47">
                  <c:v>10-II.</c:v>
                </c:pt>
                <c:pt idx="48">
                  <c:v>11-II.</c:v>
                </c:pt>
                <c:pt idx="49">
                  <c:v>12-II.</c:v>
                </c:pt>
                <c:pt idx="50">
                  <c:v>13-II.</c:v>
                </c:pt>
                <c:pt idx="51">
                  <c:v>14-II.</c:v>
                </c:pt>
                <c:pt idx="52">
                  <c:v>15-II.</c:v>
                </c:pt>
                <c:pt idx="53">
                  <c:v>16-II.</c:v>
                </c:pt>
                <c:pt idx="54">
                  <c:v>17-II.</c:v>
                </c:pt>
                <c:pt idx="55">
                  <c:v>18-II.</c:v>
                </c:pt>
                <c:pt idx="56">
                  <c:v>19-II.</c:v>
                </c:pt>
                <c:pt idx="57">
                  <c:v>20-II.</c:v>
                </c:pt>
                <c:pt idx="58">
                  <c:v>21-II.</c:v>
                </c:pt>
                <c:pt idx="59">
                  <c:v>22-II.</c:v>
                </c:pt>
                <c:pt idx="60">
                  <c:v>23-II.</c:v>
                </c:pt>
                <c:pt idx="61">
                  <c:v>24-II.</c:v>
                </c:pt>
                <c:pt idx="62">
                  <c:v>25-II.</c:v>
                </c:pt>
                <c:pt idx="63">
                  <c:v>26-II.</c:v>
                </c:pt>
                <c:pt idx="64">
                  <c:v>27-II.</c:v>
                </c:pt>
                <c:pt idx="65">
                  <c:v>28-II.</c:v>
                </c:pt>
                <c:pt idx="66">
                  <c:v>1-III.</c:v>
                </c:pt>
                <c:pt idx="67">
                  <c:v>2-III.</c:v>
                </c:pt>
                <c:pt idx="68">
                  <c:v>3-III.</c:v>
                </c:pt>
                <c:pt idx="69">
                  <c:v>4-III.</c:v>
                </c:pt>
                <c:pt idx="70">
                  <c:v>5-III.</c:v>
                </c:pt>
                <c:pt idx="71">
                  <c:v>6-III.</c:v>
                </c:pt>
                <c:pt idx="72">
                  <c:v>7-III.</c:v>
                </c:pt>
                <c:pt idx="73">
                  <c:v>8-III.</c:v>
                </c:pt>
                <c:pt idx="74">
                  <c:v>9-III.</c:v>
                </c:pt>
                <c:pt idx="75">
                  <c:v>10-III.</c:v>
                </c:pt>
                <c:pt idx="76">
                  <c:v>11-III.</c:v>
                </c:pt>
                <c:pt idx="77">
                  <c:v>12-III.</c:v>
                </c:pt>
                <c:pt idx="78">
                  <c:v>13-III.</c:v>
                </c:pt>
                <c:pt idx="79">
                  <c:v>14-III.</c:v>
                </c:pt>
                <c:pt idx="80">
                  <c:v>15-III.</c:v>
                </c:pt>
                <c:pt idx="81">
                  <c:v>16-III.</c:v>
                </c:pt>
                <c:pt idx="82">
                  <c:v>17-III.</c:v>
                </c:pt>
                <c:pt idx="83">
                  <c:v>18-III.</c:v>
                </c:pt>
                <c:pt idx="84">
                  <c:v>19-III.</c:v>
                </c:pt>
                <c:pt idx="85">
                  <c:v>20-III.</c:v>
                </c:pt>
                <c:pt idx="86">
                  <c:v>21-III.</c:v>
                </c:pt>
                <c:pt idx="87">
                  <c:v>22-III.</c:v>
                </c:pt>
                <c:pt idx="88">
                  <c:v>23-III.</c:v>
                </c:pt>
                <c:pt idx="89">
                  <c:v>24-III.</c:v>
                </c:pt>
                <c:pt idx="90">
                  <c:v>25-III.</c:v>
                </c:pt>
                <c:pt idx="91">
                  <c:v>26-III.</c:v>
                </c:pt>
                <c:pt idx="92">
                  <c:v>27-III.</c:v>
                </c:pt>
                <c:pt idx="93">
                  <c:v>28-III.</c:v>
                </c:pt>
                <c:pt idx="94">
                  <c:v>29-III.</c:v>
                </c:pt>
                <c:pt idx="95">
                  <c:v>30-III.</c:v>
                </c:pt>
                <c:pt idx="96">
                  <c:v>31-III.</c:v>
                </c:pt>
                <c:pt idx="97">
                  <c:v>1-IV.</c:v>
                </c:pt>
                <c:pt idx="98">
                  <c:v>2-IV.</c:v>
                </c:pt>
                <c:pt idx="99">
                  <c:v>3-IV.</c:v>
                </c:pt>
                <c:pt idx="100">
                  <c:v>4-IV.</c:v>
                </c:pt>
                <c:pt idx="101">
                  <c:v>5-IV.</c:v>
                </c:pt>
                <c:pt idx="102">
                  <c:v>6-IV.</c:v>
                </c:pt>
                <c:pt idx="103">
                  <c:v>7-IV.</c:v>
                </c:pt>
                <c:pt idx="104">
                  <c:v>8-IV.</c:v>
                </c:pt>
                <c:pt idx="105">
                  <c:v>9-IV.</c:v>
                </c:pt>
                <c:pt idx="106">
                  <c:v>10-IV.</c:v>
                </c:pt>
                <c:pt idx="107">
                  <c:v>11-IV.</c:v>
                </c:pt>
                <c:pt idx="108">
                  <c:v>12-IV.</c:v>
                </c:pt>
                <c:pt idx="109">
                  <c:v>13-IV.</c:v>
                </c:pt>
                <c:pt idx="110">
                  <c:v>14-IV.</c:v>
                </c:pt>
                <c:pt idx="111">
                  <c:v>15-IV.</c:v>
                </c:pt>
                <c:pt idx="112">
                  <c:v>16-IV.</c:v>
                </c:pt>
                <c:pt idx="113">
                  <c:v>17-IV.</c:v>
                </c:pt>
                <c:pt idx="114">
                  <c:v>18-IV.</c:v>
                </c:pt>
                <c:pt idx="115">
                  <c:v>19-IV.</c:v>
                </c:pt>
                <c:pt idx="116">
                  <c:v>20-IV.</c:v>
                </c:pt>
                <c:pt idx="117">
                  <c:v>21-IV.</c:v>
                </c:pt>
                <c:pt idx="118">
                  <c:v>22-IV.</c:v>
                </c:pt>
                <c:pt idx="119">
                  <c:v>23-IV.</c:v>
                </c:pt>
                <c:pt idx="120">
                  <c:v>24-IV.</c:v>
                </c:pt>
                <c:pt idx="121">
                  <c:v>25-IV.</c:v>
                </c:pt>
                <c:pt idx="122">
                  <c:v>26-IV.</c:v>
                </c:pt>
                <c:pt idx="123">
                  <c:v>27-IV.</c:v>
                </c:pt>
                <c:pt idx="124">
                  <c:v>28-IV.</c:v>
                </c:pt>
                <c:pt idx="125">
                  <c:v>29-IV.</c:v>
                </c:pt>
                <c:pt idx="126">
                  <c:v>30-IV.</c:v>
                </c:pt>
                <c:pt idx="127">
                  <c:v>1-V.</c:v>
                </c:pt>
                <c:pt idx="128">
                  <c:v>2-V.</c:v>
                </c:pt>
                <c:pt idx="129">
                  <c:v>3-V.</c:v>
                </c:pt>
                <c:pt idx="130">
                  <c:v>4-V.</c:v>
                </c:pt>
                <c:pt idx="131">
                  <c:v>5-V.</c:v>
                </c:pt>
                <c:pt idx="132">
                  <c:v>6-V.</c:v>
                </c:pt>
                <c:pt idx="133">
                  <c:v>7-V.</c:v>
                </c:pt>
                <c:pt idx="134">
                  <c:v>8-V.</c:v>
                </c:pt>
                <c:pt idx="135">
                  <c:v>9-V.</c:v>
                </c:pt>
                <c:pt idx="136">
                  <c:v>10-V.</c:v>
                </c:pt>
                <c:pt idx="137">
                  <c:v>11-V.</c:v>
                </c:pt>
                <c:pt idx="138">
                  <c:v>12-V.</c:v>
                </c:pt>
                <c:pt idx="139">
                  <c:v>13-V.</c:v>
                </c:pt>
                <c:pt idx="140">
                  <c:v>14-V.</c:v>
                </c:pt>
                <c:pt idx="141">
                  <c:v>15-V.</c:v>
                </c:pt>
                <c:pt idx="142">
                  <c:v>16-V.</c:v>
                </c:pt>
                <c:pt idx="143">
                  <c:v>17-V.</c:v>
                </c:pt>
                <c:pt idx="144">
                  <c:v>18-V.</c:v>
                </c:pt>
                <c:pt idx="145">
                  <c:v>19-V.</c:v>
                </c:pt>
                <c:pt idx="146">
                  <c:v>20-V.</c:v>
                </c:pt>
                <c:pt idx="147">
                  <c:v>21-V.</c:v>
                </c:pt>
                <c:pt idx="148">
                  <c:v>22-V.</c:v>
                </c:pt>
                <c:pt idx="149">
                  <c:v>23-V.</c:v>
                </c:pt>
                <c:pt idx="150">
                  <c:v>24-V.</c:v>
                </c:pt>
                <c:pt idx="151">
                  <c:v>25-V.</c:v>
                </c:pt>
                <c:pt idx="152">
                  <c:v>26-V.</c:v>
                </c:pt>
                <c:pt idx="153">
                  <c:v>27-V.</c:v>
                </c:pt>
                <c:pt idx="154">
                  <c:v>28-V.</c:v>
                </c:pt>
                <c:pt idx="155">
                  <c:v>29-V.</c:v>
                </c:pt>
                <c:pt idx="156">
                  <c:v>30-V.</c:v>
                </c:pt>
                <c:pt idx="157">
                  <c:v>31-V.</c:v>
                </c:pt>
                <c:pt idx="158">
                  <c:v>1-VI.</c:v>
                </c:pt>
                <c:pt idx="159">
                  <c:v>2-VI.</c:v>
                </c:pt>
                <c:pt idx="160">
                  <c:v>3-VI.</c:v>
                </c:pt>
                <c:pt idx="161">
                  <c:v>4-VI.</c:v>
                </c:pt>
                <c:pt idx="162">
                  <c:v>5-VI.</c:v>
                </c:pt>
                <c:pt idx="163">
                  <c:v>6-VI.</c:v>
                </c:pt>
                <c:pt idx="164">
                  <c:v>7-VI.</c:v>
                </c:pt>
                <c:pt idx="165">
                  <c:v>8-VI.</c:v>
                </c:pt>
                <c:pt idx="166">
                  <c:v>9-VI.</c:v>
                </c:pt>
                <c:pt idx="167">
                  <c:v>10-VI.</c:v>
                </c:pt>
                <c:pt idx="168">
                  <c:v>11-VI.</c:v>
                </c:pt>
                <c:pt idx="169">
                  <c:v>12-VI.</c:v>
                </c:pt>
                <c:pt idx="170">
                  <c:v>13-VI.</c:v>
                </c:pt>
                <c:pt idx="171">
                  <c:v>14-VI.</c:v>
                </c:pt>
                <c:pt idx="172">
                  <c:v>15-VI.</c:v>
                </c:pt>
                <c:pt idx="173">
                  <c:v>16-VI.</c:v>
                </c:pt>
                <c:pt idx="174">
                  <c:v>17-VI.</c:v>
                </c:pt>
                <c:pt idx="175">
                  <c:v>18-VI.</c:v>
                </c:pt>
                <c:pt idx="176">
                  <c:v>19-VI.</c:v>
                </c:pt>
                <c:pt idx="177">
                  <c:v>20-VI.</c:v>
                </c:pt>
                <c:pt idx="178">
                  <c:v>21-VI.</c:v>
                </c:pt>
                <c:pt idx="179">
                  <c:v>22-VI.</c:v>
                </c:pt>
                <c:pt idx="180">
                  <c:v>23-VI.</c:v>
                </c:pt>
                <c:pt idx="181">
                  <c:v>24-VI.</c:v>
                </c:pt>
                <c:pt idx="182">
                  <c:v>25-VI.</c:v>
                </c:pt>
                <c:pt idx="183">
                  <c:v>26-VI.</c:v>
                </c:pt>
                <c:pt idx="184">
                  <c:v>27-VI.</c:v>
                </c:pt>
                <c:pt idx="185">
                  <c:v>28-VI.</c:v>
                </c:pt>
                <c:pt idx="186">
                  <c:v>29-VI.</c:v>
                </c:pt>
                <c:pt idx="187">
                  <c:v>30-VI.</c:v>
                </c:pt>
                <c:pt idx="188">
                  <c:v>1-VII.</c:v>
                </c:pt>
                <c:pt idx="189">
                  <c:v>2-VII.</c:v>
                </c:pt>
                <c:pt idx="190">
                  <c:v>3-VII.</c:v>
                </c:pt>
                <c:pt idx="191">
                  <c:v>4-VII.</c:v>
                </c:pt>
                <c:pt idx="192">
                  <c:v>5-VII.</c:v>
                </c:pt>
                <c:pt idx="193">
                  <c:v>6-VII.</c:v>
                </c:pt>
                <c:pt idx="194">
                  <c:v>7-VII.</c:v>
                </c:pt>
                <c:pt idx="195">
                  <c:v>8-VII.</c:v>
                </c:pt>
                <c:pt idx="196">
                  <c:v>9-VII.</c:v>
                </c:pt>
                <c:pt idx="197">
                  <c:v>10-VII.</c:v>
                </c:pt>
                <c:pt idx="198">
                  <c:v>11-VII.</c:v>
                </c:pt>
                <c:pt idx="199">
                  <c:v>12-VII.</c:v>
                </c:pt>
                <c:pt idx="200">
                  <c:v>13-VII.</c:v>
                </c:pt>
                <c:pt idx="201">
                  <c:v>14-VII.</c:v>
                </c:pt>
                <c:pt idx="202">
                  <c:v>15-VII.</c:v>
                </c:pt>
                <c:pt idx="203">
                  <c:v>16-VII.</c:v>
                </c:pt>
                <c:pt idx="204">
                  <c:v>17-VII.</c:v>
                </c:pt>
                <c:pt idx="205">
                  <c:v>18-VII.</c:v>
                </c:pt>
                <c:pt idx="206">
                  <c:v>19-VII.</c:v>
                </c:pt>
                <c:pt idx="207">
                  <c:v>20-VII.</c:v>
                </c:pt>
                <c:pt idx="208">
                  <c:v>21-VII.</c:v>
                </c:pt>
                <c:pt idx="209">
                  <c:v>22-VII.</c:v>
                </c:pt>
                <c:pt idx="210">
                  <c:v>23-VII.</c:v>
                </c:pt>
                <c:pt idx="211">
                  <c:v>24-VII.</c:v>
                </c:pt>
                <c:pt idx="212">
                  <c:v>25-VII.</c:v>
                </c:pt>
                <c:pt idx="213">
                  <c:v>26-VII.</c:v>
                </c:pt>
                <c:pt idx="214">
                  <c:v>27-VII.</c:v>
                </c:pt>
                <c:pt idx="215">
                  <c:v>28-VII.</c:v>
                </c:pt>
                <c:pt idx="216">
                  <c:v>29-VII.</c:v>
                </c:pt>
                <c:pt idx="217">
                  <c:v>30-VII.</c:v>
                </c:pt>
                <c:pt idx="218">
                  <c:v>31-VII.</c:v>
                </c:pt>
                <c:pt idx="219">
                  <c:v>1-VIII.</c:v>
                </c:pt>
                <c:pt idx="220">
                  <c:v>2-VIII.</c:v>
                </c:pt>
                <c:pt idx="221">
                  <c:v>3-VIII.</c:v>
                </c:pt>
                <c:pt idx="222">
                  <c:v>4-VIII.</c:v>
                </c:pt>
                <c:pt idx="223">
                  <c:v>5-VIII.</c:v>
                </c:pt>
                <c:pt idx="224">
                  <c:v>6-VIII.</c:v>
                </c:pt>
                <c:pt idx="225">
                  <c:v>7-VIII.</c:v>
                </c:pt>
                <c:pt idx="226">
                  <c:v>8-VIII.</c:v>
                </c:pt>
                <c:pt idx="227">
                  <c:v>9-VIII.</c:v>
                </c:pt>
                <c:pt idx="228">
                  <c:v>10-VIII.</c:v>
                </c:pt>
                <c:pt idx="229">
                  <c:v>11-VIII.</c:v>
                </c:pt>
                <c:pt idx="230">
                  <c:v>12-VIII.</c:v>
                </c:pt>
                <c:pt idx="231">
                  <c:v>13-VIII.</c:v>
                </c:pt>
                <c:pt idx="232">
                  <c:v>14-VIII.</c:v>
                </c:pt>
                <c:pt idx="233">
                  <c:v>15-VIII.</c:v>
                </c:pt>
                <c:pt idx="234">
                  <c:v>16-VIII.</c:v>
                </c:pt>
                <c:pt idx="235">
                  <c:v>17-VIII.</c:v>
                </c:pt>
                <c:pt idx="236">
                  <c:v>18-VIII.</c:v>
                </c:pt>
                <c:pt idx="237">
                  <c:v>19-VIII.</c:v>
                </c:pt>
                <c:pt idx="238">
                  <c:v>20-VIII.</c:v>
                </c:pt>
                <c:pt idx="239">
                  <c:v>21-VIII.</c:v>
                </c:pt>
                <c:pt idx="240">
                  <c:v>22-VIII.</c:v>
                </c:pt>
                <c:pt idx="241">
                  <c:v>23-VIII.</c:v>
                </c:pt>
                <c:pt idx="242">
                  <c:v>24-VIII.</c:v>
                </c:pt>
                <c:pt idx="243">
                  <c:v>25-VIII.</c:v>
                </c:pt>
                <c:pt idx="244">
                  <c:v>26-VIII.</c:v>
                </c:pt>
                <c:pt idx="245">
                  <c:v>27-VIII.</c:v>
                </c:pt>
                <c:pt idx="246">
                  <c:v>28-VIII.</c:v>
                </c:pt>
                <c:pt idx="247">
                  <c:v>29-VIII.</c:v>
                </c:pt>
                <c:pt idx="248">
                  <c:v>30-VIII.</c:v>
                </c:pt>
                <c:pt idx="249">
                  <c:v>31-VIII.</c:v>
                </c:pt>
                <c:pt idx="250">
                  <c:v>1-IX.</c:v>
                </c:pt>
                <c:pt idx="251">
                  <c:v>2-IX.</c:v>
                </c:pt>
                <c:pt idx="252">
                  <c:v>3-IX.</c:v>
                </c:pt>
                <c:pt idx="253">
                  <c:v>4-IX.</c:v>
                </c:pt>
                <c:pt idx="254">
                  <c:v>5-IX.</c:v>
                </c:pt>
                <c:pt idx="255">
                  <c:v>6-IX.</c:v>
                </c:pt>
                <c:pt idx="256">
                  <c:v>7-IX.</c:v>
                </c:pt>
                <c:pt idx="257">
                  <c:v>8-IX.</c:v>
                </c:pt>
                <c:pt idx="258">
                  <c:v>9-IX.</c:v>
                </c:pt>
                <c:pt idx="259">
                  <c:v>10-IX.</c:v>
                </c:pt>
                <c:pt idx="260">
                  <c:v>11-IX.</c:v>
                </c:pt>
                <c:pt idx="261">
                  <c:v>12-IX.</c:v>
                </c:pt>
                <c:pt idx="262">
                  <c:v>13-IX.</c:v>
                </c:pt>
                <c:pt idx="263">
                  <c:v>14-IX.</c:v>
                </c:pt>
                <c:pt idx="264">
                  <c:v>15-IX.</c:v>
                </c:pt>
                <c:pt idx="265">
                  <c:v>16-IX.</c:v>
                </c:pt>
                <c:pt idx="266">
                  <c:v>17-IX.</c:v>
                </c:pt>
                <c:pt idx="267">
                  <c:v>18-IX.</c:v>
                </c:pt>
                <c:pt idx="268">
                  <c:v>19-IX.</c:v>
                </c:pt>
                <c:pt idx="269">
                  <c:v>20-IX.</c:v>
                </c:pt>
                <c:pt idx="270">
                  <c:v>21-IX.</c:v>
                </c:pt>
                <c:pt idx="271">
                  <c:v>22-IX.</c:v>
                </c:pt>
                <c:pt idx="272">
                  <c:v>23-IX.</c:v>
                </c:pt>
                <c:pt idx="273">
                  <c:v>24-IX.</c:v>
                </c:pt>
                <c:pt idx="274">
                  <c:v>25-IX.</c:v>
                </c:pt>
                <c:pt idx="275">
                  <c:v>26-IX.</c:v>
                </c:pt>
                <c:pt idx="276">
                  <c:v>27-IX.</c:v>
                </c:pt>
                <c:pt idx="277">
                  <c:v>28-IX.</c:v>
                </c:pt>
                <c:pt idx="278">
                  <c:v>29-IX.</c:v>
                </c:pt>
                <c:pt idx="279">
                  <c:v>30-IX.</c:v>
                </c:pt>
                <c:pt idx="280">
                  <c:v>1-X.</c:v>
                </c:pt>
                <c:pt idx="281">
                  <c:v>2-X.</c:v>
                </c:pt>
                <c:pt idx="282">
                  <c:v>3-X.</c:v>
                </c:pt>
                <c:pt idx="283">
                  <c:v>4-X.</c:v>
                </c:pt>
                <c:pt idx="284">
                  <c:v>5-X.</c:v>
                </c:pt>
                <c:pt idx="285">
                  <c:v>6-X.</c:v>
                </c:pt>
                <c:pt idx="286">
                  <c:v>7-X.</c:v>
                </c:pt>
                <c:pt idx="287">
                  <c:v>8-X.</c:v>
                </c:pt>
                <c:pt idx="288">
                  <c:v>9-X.</c:v>
                </c:pt>
                <c:pt idx="289">
                  <c:v>10-X.</c:v>
                </c:pt>
                <c:pt idx="290">
                  <c:v>11-X.</c:v>
                </c:pt>
                <c:pt idx="291">
                  <c:v>12-X.</c:v>
                </c:pt>
                <c:pt idx="292">
                  <c:v>13-X.</c:v>
                </c:pt>
                <c:pt idx="293">
                  <c:v>14-X.</c:v>
                </c:pt>
                <c:pt idx="294">
                  <c:v>15-X.</c:v>
                </c:pt>
                <c:pt idx="295">
                  <c:v>16-X.</c:v>
                </c:pt>
                <c:pt idx="296">
                  <c:v>17-X.</c:v>
                </c:pt>
                <c:pt idx="297">
                  <c:v>18-X.</c:v>
                </c:pt>
                <c:pt idx="298">
                  <c:v>19-X.</c:v>
                </c:pt>
                <c:pt idx="299">
                  <c:v>20-X.</c:v>
                </c:pt>
                <c:pt idx="300">
                  <c:v>21-X.</c:v>
                </c:pt>
                <c:pt idx="301">
                  <c:v>22-X.</c:v>
                </c:pt>
                <c:pt idx="302">
                  <c:v>23-X.</c:v>
                </c:pt>
                <c:pt idx="303">
                  <c:v>24-X.</c:v>
                </c:pt>
                <c:pt idx="304">
                  <c:v>25-X.</c:v>
                </c:pt>
                <c:pt idx="305">
                  <c:v>26-X.</c:v>
                </c:pt>
                <c:pt idx="306">
                  <c:v>27-X.</c:v>
                </c:pt>
                <c:pt idx="307">
                  <c:v>28-X.</c:v>
                </c:pt>
                <c:pt idx="308">
                  <c:v>29-X.</c:v>
                </c:pt>
                <c:pt idx="309">
                  <c:v>30-X.</c:v>
                </c:pt>
                <c:pt idx="310">
                  <c:v>31-X.</c:v>
                </c:pt>
                <c:pt idx="311">
                  <c:v>1-XI.</c:v>
                </c:pt>
                <c:pt idx="312">
                  <c:v>2-XI.</c:v>
                </c:pt>
                <c:pt idx="313">
                  <c:v>3-XI.</c:v>
                </c:pt>
                <c:pt idx="314">
                  <c:v>4-XI.</c:v>
                </c:pt>
                <c:pt idx="315">
                  <c:v>5-XI.</c:v>
                </c:pt>
                <c:pt idx="316">
                  <c:v>6-XI.</c:v>
                </c:pt>
                <c:pt idx="317">
                  <c:v>7-XI.</c:v>
                </c:pt>
                <c:pt idx="318">
                  <c:v>8-XI.</c:v>
                </c:pt>
                <c:pt idx="319">
                  <c:v>9-XI.</c:v>
                </c:pt>
                <c:pt idx="320">
                  <c:v>10-XI.</c:v>
                </c:pt>
                <c:pt idx="321">
                  <c:v>11-XI.</c:v>
                </c:pt>
                <c:pt idx="322">
                  <c:v>12-XI.</c:v>
                </c:pt>
                <c:pt idx="323">
                  <c:v>13-XI.</c:v>
                </c:pt>
                <c:pt idx="324">
                  <c:v>14-XI.</c:v>
                </c:pt>
                <c:pt idx="325">
                  <c:v>15-XI.</c:v>
                </c:pt>
                <c:pt idx="326">
                  <c:v>16-XI.</c:v>
                </c:pt>
                <c:pt idx="327">
                  <c:v>17-XI.</c:v>
                </c:pt>
                <c:pt idx="328">
                  <c:v>18-XI.</c:v>
                </c:pt>
                <c:pt idx="329">
                  <c:v>19-XI.</c:v>
                </c:pt>
                <c:pt idx="330">
                  <c:v>20-XI.</c:v>
                </c:pt>
                <c:pt idx="331">
                  <c:v>21-XI.</c:v>
                </c:pt>
                <c:pt idx="332">
                  <c:v>22-XI.</c:v>
                </c:pt>
                <c:pt idx="333">
                  <c:v>23-XI.</c:v>
                </c:pt>
                <c:pt idx="334">
                  <c:v>24-XI.</c:v>
                </c:pt>
                <c:pt idx="335">
                  <c:v>25-XI.</c:v>
                </c:pt>
                <c:pt idx="336">
                  <c:v>26-XI.</c:v>
                </c:pt>
                <c:pt idx="337">
                  <c:v>27-XI.</c:v>
                </c:pt>
                <c:pt idx="338">
                  <c:v>28-XI.</c:v>
                </c:pt>
                <c:pt idx="339">
                  <c:v>29-XI.</c:v>
                </c:pt>
                <c:pt idx="340">
                  <c:v>30-XI.</c:v>
                </c:pt>
                <c:pt idx="341">
                  <c:v>1-XII.</c:v>
                </c:pt>
                <c:pt idx="342">
                  <c:v>2-XII.</c:v>
                </c:pt>
                <c:pt idx="343">
                  <c:v>3-XII.</c:v>
                </c:pt>
                <c:pt idx="344">
                  <c:v>4-XII.</c:v>
                </c:pt>
                <c:pt idx="345">
                  <c:v>5-XII.</c:v>
                </c:pt>
                <c:pt idx="346">
                  <c:v>6-XII.</c:v>
                </c:pt>
                <c:pt idx="347">
                  <c:v>7-XII.</c:v>
                </c:pt>
                <c:pt idx="348">
                  <c:v>8-XII.</c:v>
                </c:pt>
                <c:pt idx="349">
                  <c:v>9-XII.</c:v>
                </c:pt>
                <c:pt idx="350">
                  <c:v>10-XII.</c:v>
                </c:pt>
                <c:pt idx="351">
                  <c:v>11-XII.</c:v>
                </c:pt>
                <c:pt idx="352">
                  <c:v>12-XII.</c:v>
                </c:pt>
                <c:pt idx="353">
                  <c:v>13-XII.</c:v>
                </c:pt>
                <c:pt idx="354">
                  <c:v>14-XII.</c:v>
                </c:pt>
                <c:pt idx="355">
                  <c:v>15-XII.</c:v>
                </c:pt>
                <c:pt idx="356">
                  <c:v>16-XII.</c:v>
                </c:pt>
                <c:pt idx="357">
                  <c:v>17-XII.</c:v>
                </c:pt>
              </c:strCache>
            </c:strRef>
          </c:cat>
          <c:val>
            <c:numRef>
              <c:f>List1!$G$5:$MZ$5</c:f>
              <c:numCache>
                <c:formatCode>General</c:formatCode>
                <c:ptCount val="358"/>
                <c:pt idx="2">
                  <c:v>448</c:v>
                </c:pt>
                <c:pt idx="3">
                  <c:v>1180</c:v>
                </c:pt>
                <c:pt idx="4">
                  <c:v>2128</c:v>
                </c:pt>
                <c:pt idx="5">
                  <c:v>3071</c:v>
                </c:pt>
                <c:pt idx="6">
                  <c:v>3409</c:v>
                </c:pt>
                <c:pt idx="7">
                  <c:v>3498</c:v>
                </c:pt>
                <c:pt idx="8">
                  <c:v>3890</c:v>
                </c:pt>
                <c:pt idx="9">
                  <c:v>4203</c:v>
                </c:pt>
                <c:pt idx="10">
                  <c:v>5400</c:v>
                </c:pt>
                <c:pt idx="11">
                  <c:v>6714</c:v>
                </c:pt>
                <c:pt idx="12">
                  <c:v>8210</c:v>
                </c:pt>
                <c:pt idx="13">
                  <c:v>9889</c:v>
                </c:pt>
                <c:pt idx="14">
                  <c:v>11700</c:v>
                </c:pt>
                <c:pt idx="15">
                  <c:v>12109</c:v>
                </c:pt>
                <c:pt idx="16">
                  <c:v>12401</c:v>
                </c:pt>
                <c:pt idx="17">
                  <c:v>14150</c:v>
                </c:pt>
                <c:pt idx="18">
                  <c:v>16099</c:v>
                </c:pt>
                <c:pt idx="19">
                  <c:v>17801</c:v>
                </c:pt>
                <c:pt idx="20">
                  <c:v>19705</c:v>
                </c:pt>
                <c:pt idx="21">
                  <c:v>21509</c:v>
                </c:pt>
                <c:pt idx="22">
                  <c:v>21844</c:v>
                </c:pt>
                <c:pt idx="23">
                  <c:v>22070</c:v>
                </c:pt>
                <c:pt idx="24">
                  <c:v>23629</c:v>
                </c:pt>
                <c:pt idx="25">
                  <c:v>24809</c:v>
                </c:pt>
                <c:pt idx="26">
                  <c:v>25937</c:v>
                </c:pt>
                <c:pt idx="27">
                  <c:v>26937</c:v>
                </c:pt>
                <c:pt idx="28">
                  <c:v>27767</c:v>
                </c:pt>
                <c:pt idx="29">
                  <c:v>27936</c:v>
                </c:pt>
                <c:pt idx="30">
                  <c:v>28018</c:v>
                </c:pt>
                <c:pt idx="31">
                  <c:v>28528</c:v>
                </c:pt>
                <c:pt idx="32">
                  <c:v>29068</c:v>
                </c:pt>
                <c:pt idx="33">
                  <c:v>29467</c:v>
                </c:pt>
                <c:pt idx="34">
                  <c:v>29846</c:v>
                </c:pt>
                <c:pt idx="35">
                  <c:v>30177</c:v>
                </c:pt>
                <c:pt idx="36">
                  <c:v>30202</c:v>
                </c:pt>
                <c:pt idx="37">
                  <c:v>30223</c:v>
                </c:pt>
                <c:pt idx="38">
                  <c:v>30468</c:v>
                </c:pt>
                <c:pt idx="39">
                  <c:v>30704</c:v>
                </c:pt>
                <c:pt idx="40">
                  <c:v>30927</c:v>
                </c:pt>
                <c:pt idx="41">
                  <c:v>31121</c:v>
                </c:pt>
                <c:pt idx="42">
                  <c:v>31396</c:v>
                </c:pt>
                <c:pt idx="43">
                  <c:v>31415</c:v>
                </c:pt>
                <c:pt idx="44">
                  <c:v>31427</c:v>
                </c:pt>
                <c:pt idx="45">
                  <c:v>31563</c:v>
                </c:pt>
                <c:pt idx="46">
                  <c:v>31701</c:v>
                </c:pt>
                <c:pt idx="47">
                  <c:v>31896</c:v>
                </c:pt>
                <c:pt idx="48">
                  <c:v>32128</c:v>
                </c:pt>
                <c:pt idx="49">
                  <c:v>32407</c:v>
                </c:pt>
                <c:pt idx="50">
                  <c:v>32506</c:v>
                </c:pt>
                <c:pt idx="51">
                  <c:v>32571</c:v>
                </c:pt>
                <c:pt idx="52">
                  <c:v>32927</c:v>
                </c:pt>
                <c:pt idx="53">
                  <c:v>33225</c:v>
                </c:pt>
                <c:pt idx="54">
                  <c:v>33486</c:v>
                </c:pt>
                <c:pt idx="55">
                  <c:v>33824</c:v>
                </c:pt>
                <c:pt idx="56">
                  <c:v>34271</c:v>
                </c:pt>
                <c:pt idx="57">
                  <c:v>34377</c:v>
                </c:pt>
                <c:pt idx="58">
                  <c:v>34424</c:v>
                </c:pt>
                <c:pt idx="59">
                  <c:v>34735</c:v>
                </c:pt>
                <c:pt idx="60">
                  <c:v>35216</c:v>
                </c:pt>
                <c:pt idx="61">
                  <c:v>35814</c:v>
                </c:pt>
                <c:pt idx="62">
                  <c:v>36467</c:v>
                </c:pt>
                <c:pt idx="63">
                  <c:v>37010</c:v>
                </c:pt>
                <c:pt idx="64">
                  <c:v>37084</c:v>
                </c:pt>
                <c:pt idx="65">
                  <c:v>37127</c:v>
                </c:pt>
                <c:pt idx="66">
                  <c:v>37675</c:v>
                </c:pt>
                <c:pt idx="67">
                  <c:v>38271</c:v>
                </c:pt>
                <c:pt idx="68">
                  <c:v>38830</c:v>
                </c:pt>
                <c:pt idx="69">
                  <c:v>39374</c:v>
                </c:pt>
                <c:pt idx="70">
                  <c:v>39966</c:v>
                </c:pt>
                <c:pt idx="71">
                  <c:v>40133</c:v>
                </c:pt>
                <c:pt idx="72">
                  <c:v>40242</c:v>
                </c:pt>
                <c:pt idx="73">
                  <c:v>40567</c:v>
                </c:pt>
                <c:pt idx="74">
                  <c:v>40964</c:v>
                </c:pt>
                <c:pt idx="75">
                  <c:v>41368</c:v>
                </c:pt>
                <c:pt idx="76">
                  <c:v>41846</c:v>
                </c:pt>
                <c:pt idx="77">
                  <c:v>42251</c:v>
                </c:pt>
                <c:pt idx="78">
                  <c:v>42390</c:v>
                </c:pt>
                <c:pt idx="79">
                  <c:v>42475</c:v>
                </c:pt>
                <c:pt idx="80">
                  <c:v>42729</c:v>
                </c:pt>
                <c:pt idx="81">
                  <c:v>43091</c:v>
                </c:pt>
                <c:pt idx="82">
                  <c:v>43447</c:v>
                </c:pt>
                <c:pt idx="83">
                  <c:v>43803</c:v>
                </c:pt>
                <c:pt idx="84">
                  <c:v>44134</c:v>
                </c:pt>
                <c:pt idx="85">
                  <c:v>44249</c:v>
                </c:pt>
                <c:pt idx="86">
                  <c:v>44319</c:v>
                </c:pt>
                <c:pt idx="87">
                  <c:v>44492</c:v>
                </c:pt>
                <c:pt idx="88">
                  <c:v>44685</c:v>
                </c:pt>
                <c:pt idx="89">
                  <c:v>44831</c:v>
                </c:pt>
                <c:pt idx="90">
                  <c:v>45025</c:v>
                </c:pt>
                <c:pt idx="91">
                  <c:v>45243</c:v>
                </c:pt>
                <c:pt idx="92">
                  <c:v>45306</c:v>
                </c:pt>
                <c:pt idx="93">
                  <c:v>45348</c:v>
                </c:pt>
                <c:pt idx="94">
                  <c:v>45473</c:v>
                </c:pt>
                <c:pt idx="95">
                  <c:v>45632</c:v>
                </c:pt>
                <c:pt idx="96">
                  <c:v>45792</c:v>
                </c:pt>
                <c:pt idx="97">
                  <c:v>46011</c:v>
                </c:pt>
                <c:pt idx="98">
                  <c:v>46088</c:v>
                </c:pt>
                <c:pt idx="99">
                  <c:v>46108</c:v>
                </c:pt>
                <c:pt idx="100">
                  <c:v>46137</c:v>
                </c:pt>
                <c:pt idx="101">
                  <c:v>46144</c:v>
                </c:pt>
                <c:pt idx="102">
                  <c:v>46234</c:v>
                </c:pt>
                <c:pt idx="103">
                  <c:v>46327</c:v>
                </c:pt>
                <c:pt idx="104">
                  <c:v>46496</c:v>
                </c:pt>
                <c:pt idx="105">
                  <c:v>46696</c:v>
                </c:pt>
                <c:pt idx="106">
                  <c:v>46741</c:v>
                </c:pt>
                <c:pt idx="107">
                  <c:v>46774</c:v>
                </c:pt>
                <c:pt idx="108">
                  <c:v>46910</c:v>
                </c:pt>
                <c:pt idx="109">
                  <c:v>47031</c:v>
                </c:pt>
                <c:pt idx="110">
                  <c:v>47136</c:v>
                </c:pt>
                <c:pt idx="111">
                  <c:v>47293</c:v>
                </c:pt>
                <c:pt idx="112">
                  <c:v>47468</c:v>
                </c:pt>
                <c:pt idx="113">
                  <c:v>47509</c:v>
                </c:pt>
                <c:pt idx="114">
                  <c:v>47564</c:v>
                </c:pt>
                <c:pt idx="115">
                  <c:v>47691</c:v>
                </c:pt>
                <c:pt idx="116">
                  <c:v>47810</c:v>
                </c:pt>
                <c:pt idx="117">
                  <c:v>47944</c:v>
                </c:pt>
                <c:pt idx="118">
                  <c:v>48091</c:v>
                </c:pt>
                <c:pt idx="119">
                  <c:v>48248</c:v>
                </c:pt>
                <c:pt idx="120">
                  <c:v>48304</c:v>
                </c:pt>
                <c:pt idx="121">
                  <c:v>48341</c:v>
                </c:pt>
                <c:pt idx="122">
                  <c:v>48453</c:v>
                </c:pt>
                <c:pt idx="123">
                  <c:v>48573</c:v>
                </c:pt>
                <c:pt idx="124">
                  <c:v>48694</c:v>
                </c:pt>
                <c:pt idx="125">
                  <c:v>48824</c:v>
                </c:pt>
                <c:pt idx="126">
                  <c:v>48962</c:v>
                </c:pt>
                <c:pt idx="127">
                  <c:v>48991</c:v>
                </c:pt>
                <c:pt idx="128">
                  <c:v>49021</c:v>
                </c:pt>
                <c:pt idx="129">
                  <c:v>49142</c:v>
                </c:pt>
                <c:pt idx="130">
                  <c:v>49267</c:v>
                </c:pt>
                <c:pt idx="131">
                  <c:v>49363</c:v>
                </c:pt>
                <c:pt idx="132">
                  <c:v>49480</c:v>
                </c:pt>
                <c:pt idx="133">
                  <c:v>49651</c:v>
                </c:pt>
                <c:pt idx="134">
                  <c:v>49713</c:v>
                </c:pt>
                <c:pt idx="135">
                  <c:v>49745</c:v>
                </c:pt>
                <c:pt idx="136">
                  <c:v>49844</c:v>
                </c:pt>
                <c:pt idx="137">
                  <c:v>49960</c:v>
                </c:pt>
                <c:pt idx="138">
                  <c:v>50092</c:v>
                </c:pt>
                <c:pt idx="139">
                  <c:v>50250</c:v>
                </c:pt>
                <c:pt idx="140">
                  <c:v>50378</c:v>
                </c:pt>
                <c:pt idx="141">
                  <c:v>50449</c:v>
                </c:pt>
                <c:pt idx="142">
                  <c:v>50480</c:v>
                </c:pt>
                <c:pt idx="143">
                  <c:v>50562</c:v>
                </c:pt>
                <c:pt idx="144">
                  <c:v>50654</c:v>
                </c:pt>
                <c:pt idx="145">
                  <c:v>50739</c:v>
                </c:pt>
                <c:pt idx="146">
                  <c:v>50838</c:v>
                </c:pt>
                <c:pt idx="147">
                  <c:v>50945</c:v>
                </c:pt>
                <c:pt idx="148">
                  <c:v>50976</c:v>
                </c:pt>
                <c:pt idx="149">
                  <c:v>50991</c:v>
                </c:pt>
                <c:pt idx="150">
                  <c:v>51040</c:v>
                </c:pt>
                <c:pt idx="151">
                  <c:v>51102</c:v>
                </c:pt>
                <c:pt idx="152">
                  <c:v>51194</c:v>
                </c:pt>
                <c:pt idx="153">
                  <c:v>51275</c:v>
                </c:pt>
                <c:pt idx="154">
                  <c:v>51379</c:v>
                </c:pt>
                <c:pt idx="155">
                  <c:v>51416</c:v>
                </c:pt>
                <c:pt idx="156">
                  <c:v>51449</c:v>
                </c:pt>
                <c:pt idx="157">
                  <c:v>51523</c:v>
                </c:pt>
                <c:pt idx="158">
                  <c:v>51604</c:v>
                </c:pt>
                <c:pt idx="159">
                  <c:v>51698</c:v>
                </c:pt>
                <c:pt idx="160">
                  <c:v>51768</c:v>
                </c:pt>
                <c:pt idx="161">
                  <c:v>51866</c:v>
                </c:pt>
                <c:pt idx="162">
                  <c:v>51893</c:v>
                </c:pt>
                <c:pt idx="163">
                  <c:v>51926</c:v>
                </c:pt>
                <c:pt idx="164">
                  <c:v>52007</c:v>
                </c:pt>
                <c:pt idx="165">
                  <c:v>52103</c:v>
                </c:pt>
                <c:pt idx="166">
                  <c:v>52188</c:v>
                </c:pt>
                <c:pt idx="167">
                  <c:v>52274</c:v>
                </c:pt>
                <c:pt idx="168">
                  <c:v>52369</c:v>
                </c:pt>
                <c:pt idx="169">
                  <c:v>52398</c:v>
                </c:pt>
                <c:pt idx="170">
                  <c:v>52428</c:v>
                </c:pt>
                <c:pt idx="171">
                  <c:v>52498</c:v>
                </c:pt>
                <c:pt idx="172">
                  <c:v>52553</c:v>
                </c:pt>
                <c:pt idx="173">
                  <c:v>52628</c:v>
                </c:pt>
                <c:pt idx="174">
                  <c:v>52704</c:v>
                </c:pt>
                <c:pt idx="175">
                  <c:v>52782</c:v>
                </c:pt>
                <c:pt idx="176">
                  <c:v>52810</c:v>
                </c:pt>
                <c:pt idx="177">
                  <c:v>52835</c:v>
                </c:pt>
                <c:pt idx="178">
                  <c:v>52873</c:v>
                </c:pt>
                <c:pt idx="179">
                  <c:v>52923</c:v>
                </c:pt>
                <c:pt idx="180">
                  <c:v>52976</c:v>
                </c:pt>
                <c:pt idx="181">
                  <c:v>53027</c:v>
                </c:pt>
                <c:pt idx="182">
                  <c:v>53085</c:v>
                </c:pt>
                <c:pt idx="183">
                  <c:v>53099</c:v>
                </c:pt>
                <c:pt idx="184">
                  <c:v>53111</c:v>
                </c:pt>
                <c:pt idx="185">
                  <c:v>53155</c:v>
                </c:pt>
                <c:pt idx="186">
                  <c:v>53201</c:v>
                </c:pt>
                <c:pt idx="187">
                  <c:v>53259</c:v>
                </c:pt>
                <c:pt idx="188">
                  <c:v>53303</c:v>
                </c:pt>
                <c:pt idx="189">
                  <c:v>53358</c:v>
                </c:pt>
                <c:pt idx="190">
                  <c:v>53370</c:v>
                </c:pt>
                <c:pt idx="191">
                  <c:v>53382</c:v>
                </c:pt>
                <c:pt idx="192">
                  <c:v>53388</c:v>
                </c:pt>
                <c:pt idx="193">
                  <c:v>53397</c:v>
                </c:pt>
                <c:pt idx="194">
                  <c:v>53437</c:v>
                </c:pt>
                <c:pt idx="195">
                  <c:v>53492</c:v>
                </c:pt>
                <c:pt idx="196">
                  <c:v>53540</c:v>
                </c:pt>
                <c:pt idx="197">
                  <c:v>53555</c:v>
                </c:pt>
                <c:pt idx="198">
                  <c:v>53569</c:v>
                </c:pt>
                <c:pt idx="199">
                  <c:v>53617</c:v>
                </c:pt>
                <c:pt idx="200">
                  <c:v>53660</c:v>
                </c:pt>
                <c:pt idx="201">
                  <c:v>53706</c:v>
                </c:pt>
                <c:pt idx="202">
                  <c:v>53765</c:v>
                </c:pt>
                <c:pt idx="203">
                  <c:v>53820</c:v>
                </c:pt>
                <c:pt idx="204">
                  <c:v>53842</c:v>
                </c:pt>
                <c:pt idx="205">
                  <c:v>53861</c:v>
                </c:pt>
                <c:pt idx="206">
                  <c:v>53910</c:v>
                </c:pt>
                <c:pt idx="207">
                  <c:v>53955</c:v>
                </c:pt>
                <c:pt idx="208">
                  <c:v>54024</c:v>
                </c:pt>
                <c:pt idx="209">
                  <c:v>54062</c:v>
                </c:pt>
                <c:pt idx="210">
                  <c:v>54095</c:v>
                </c:pt>
                <c:pt idx="211">
                  <c:v>54101</c:v>
                </c:pt>
                <c:pt idx="212">
                  <c:v>54110</c:v>
                </c:pt>
                <c:pt idx="213">
                  <c:v>54150</c:v>
                </c:pt>
                <c:pt idx="214">
                  <c:v>54203</c:v>
                </c:pt>
                <c:pt idx="215">
                  <c:v>54238</c:v>
                </c:pt>
                <c:pt idx="216">
                  <c:v>54266</c:v>
                </c:pt>
                <c:pt idx="217">
                  <c:v>54311</c:v>
                </c:pt>
                <c:pt idx="218">
                  <c:v>54328</c:v>
                </c:pt>
                <c:pt idx="219">
                  <c:v>54341</c:v>
                </c:pt>
                <c:pt idx="220">
                  <c:v>54378</c:v>
                </c:pt>
                <c:pt idx="221">
                  <c:v>54404</c:v>
                </c:pt>
                <c:pt idx="222">
                  <c:v>54444</c:v>
                </c:pt>
                <c:pt idx="223">
                  <c:v>54475</c:v>
                </c:pt>
                <c:pt idx="224">
                  <c:v>54508</c:v>
                </c:pt>
                <c:pt idx="225">
                  <c:v>54521</c:v>
                </c:pt>
                <c:pt idx="226">
                  <c:v>54526</c:v>
                </c:pt>
                <c:pt idx="227">
                  <c:v>54548</c:v>
                </c:pt>
                <c:pt idx="228">
                  <c:v>54563</c:v>
                </c:pt>
                <c:pt idx="229">
                  <c:v>54583</c:v>
                </c:pt>
                <c:pt idx="230">
                  <c:v>54606</c:v>
                </c:pt>
                <c:pt idx="231">
                  <c:v>54631</c:v>
                </c:pt>
                <c:pt idx="232">
                  <c:v>54641</c:v>
                </c:pt>
                <c:pt idx="233">
                  <c:v>54646</c:v>
                </c:pt>
                <c:pt idx="234">
                  <c:v>54663</c:v>
                </c:pt>
                <c:pt idx="235">
                  <c:v>54687</c:v>
                </c:pt>
                <c:pt idx="236">
                  <c:v>54710</c:v>
                </c:pt>
                <c:pt idx="237">
                  <c:v>54732</c:v>
                </c:pt>
                <c:pt idx="238">
                  <c:v>54765</c:v>
                </c:pt>
                <c:pt idx="239">
                  <c:v>54775</c:v>
                </c:pt>
                <c:pt idx="240">
                  <c:v>54778</c:v>
                </c:pt>
                <c:pt idx="241">
                  <c:v>54789</c:v>
                </c:pt>
                <c:pt idx="242">
                  <c:v>54818</c:v>
                </c:pt>
                <c:pt idx="243">
                  <c:v>54842</c:v>
                </c:pt>
                <c:pt idx="244">
                  <c:v>54869</c:v>
                </c:pt>
                <c:pt idx="245">
                  <c:v>54897</c:v>
                </c:pt>
                <c:pt idx="246">
                  <c:v>54900</c:v>
                </c:pt>
                <c:pt idx="247">
                  <c:v>54907</c:v>
                </c:pt>
                <c:pt idx="248">
                  <c:v>54928</c:v>
                </c:pt>
                <c:pt idx="249">
                  <c:v>54953</c:v>
                </c:pt>
                <c:pt idx="250">
                  <c:v>54973</c:v>
                </c:pt>
                <c:pt idx="251">
                  <c:v>55001</c:v>
                </c:pt>
                <c:pt idx="252">
                  <c:v>55027</c:v>
                </c:pt>
                <c:pt idx="253">
                  <c:v>55035</c:v>
                </c:pt>
                <c:pt idx="254">
                  <c:v>55040</c:v>
                </c:pt>
                <c:pt idx="255">
                  <c:v>55053</c:v>
                </c:pt>
                <c:pt idx="256">
                  <c:v>55066</c:v>
                </c:pt>
                <c:pt idx="257">
                  <c:v>55086</c:v>
                </c:pt>
                <c:pt idx="258">
                  <c:v>55113</c:v>
                </c:pt>
                <c:pt idx="259">
                  <c:v>55138</c:v>
                </c:pt>
                <c:pt idx="260">
                  <c:v>55140</c:v>
                </c:pt>
                <c:pt idx="261">
                  <c:v>55143</c:v>
                </c:pt>
                <c:pt idx="262">
                  <c:v>55162</c:v>
                </c:pt>
                <c:pt idx="263">
                  <c:v>55180</c:v>
                </c:pt>
                <c:pt idx="264">
                  <c:v>55195</c:v>
                </c:pt>
                <c:pt idx="265">
                  <c:v>55213</c:v>
                </c:pt>
                <c:pt idx="266">
                  <c:v>55238</c:v>
                </c:pt>
                <c:pt idx="267">
                  <c:v>55243</c:v>
                </c:pt>
                <c:pt idx="268">
                  <c:v>55243</c:v>
                </c:pt>
                <c:pt idx="269">
                  <c:v>55263</c:v>
                </c:pt>
                <c:pt idx="270">
                  <c:v>55271</c:v>
                </c:pt>
                <c:pt idx="271">
                  <c:v>55281</c:v>
                </c:pt>
                <c:pt idx="272">
                  <c:v>55305</c:v>
                </c:pt>
                <c:pt idx="273">
                  <c:v>55331</c:v>
                </c:pt>
                <c:pt idx="274">
                  <c:v>55337</c:v>
                </c:pt>
                <c:pt idx="275">
                  <c:v>55337</c:v>
                </c:pt>
                <c:pt idx="276">
                  <c:v>55349</c:v>
                </c:pt>
                <c:pt idx="277">
                  <c:v>55349</c:v>
                </c:pt>
                <c:pt idx="278">
                  <c:v>55366</c:v>
                </c:pt>
                <c:pt idx="279">
                  <c:v>55381</c:v>
                </c:pt>
                <c:pt idx="280">
                  <c:v>55401</c:v>
                </c:pt>
                <c:pt idx="281">
                  <c:v>55407</c:v>
                </c:pt>
                <c:pt idx="282">
                  <c:v>55407</c:v>
                </c:pt>
                <c:pt idx="283">
                  <c:v>55417</c:v>
                </c:pt>
                <c:pt idx="284">
                  <c:v>55424</c:v>
                </c:pt>
                <c:pt idx="285">
                  <c:v>55436</c:v>
                </c:pt>
                <c:pt idx="286">
                  <c:v>55454</c:v>
                </c:pt>
                <c:pt idx="287">
                  <c:v>55468</c:v>
                </c:pt>
                <c:pt idx="288">
                  <c:v>55474</c:v>
                </c:pt>
                <c:pt idx="289">
                  <c:v>55474</c:v>
                </c:pt>
                <c:pt idx="290">
                  <c:v>55493</c:v>
                </c:pt>
                <c:pt idx="291">
                  <c:v>55511</c:v>
                </c:pt>
                <c:pt idx="292">
                  <c:v>55518</c:v>
                </c:pt>
                <c:pt idx="293">
                  <c:v>55528</c:v>
                </c:pt>
                <c:pt idx="294">
                  <c:v>55545</c:v>
                </c:pt>
                <c:pt idx="295">
                  <c:v>55547</c:v>
                </c:pt>
                <c:pt idx="296">
                  <c:v>55549</c:v>
                </c:pt>
                <c:pt idx="297">
                  <c:v>55570</c:v>
                </c:pt>
                <c:pt idx="298">
                  <c:v>55577</c:v>
                </c:pt>
                <c:pt idx="299">
                  <c:v>55591</c:v>
                </c:pt>
                <c:pt idx="300">
                  <c:v>55616</c:v>
                </c:pt>
                <c:pt idx="301">
                  <c:v>55655</c:v>
                </c:pt>
                <c:pt idx="302">
                  <c:v>55662</c:v>
                </c:pt>
                <c:pt idx="303">
                  <c:v>55668</c:v>
                </c:pt>
                <c:pt idx="304">
                  <c:v>55689</c:v>
                </c:pt>
                <c:pt idx="305">
                  <c:v>55726</c:v>
                </c:pt>
                <c:pt idx="306">
                  <c:v>55773</c:v>
                </c:pt>
                <c:pt idx="307">
                  <c:v>55780</c:v>
                </c:pt>
                <c:pt idx="308">
                  <c:v>55814</c:v>
                </c:pt>
                <c:pt idx="309">
                  <c:v>55826</c:v>
                </c:pt>
                <c:pt idx="310">
                  <c:v>55829</c:v>
                </c:pt>
                <c:pt idx="311">
                  <c:v>55872</c:v>
                </c:pt>
                <c:pt idx="312">
                  <c:v>55911</c:v>
                </c:pt>
                <c:pt idx="313">
                  <c:v>55946</c:v>
                </c:pt>
                <c:pt idx="314">
                  <c:v>56005</c:v>
                </c:pt>
                <c:pt idx="315">
                  <c:v>56068</c:v>
                </c:pt>
                <c:pt idx="316">
                  <c:v>56092</c:v>
                </c:pt>
                <c:pt idx="317">
                  <c:v>56107</c:v>
                </c:pt>
                <c:pt idx="318">
                  <c:v>56137</c:v>
                </c:pt>
                <c:pt idx="319">
                  <c:v>56172</c:v>
                </c:pt>
                <c:pt idx="320">
                  <c:v>56205</c:v>
                </c:pt>
                <c:pt idx="321">
                  <c:v>56239</c:v>
                </c:pt>
                <c:pt idx="322">
                  <c:v>56303</c:v>
                </c:pt>
                <c:pt idx="323">
                  <c:v>56314</c:v>
                </c:pt>
                <c:pt idx="324">
                  <c:v>56323</c:v>
                </c:pt>
                <c:pt idx="325">
                  <c:v>56370</c:v>
                </c:pt>
                <c:pt idx="326">
                  <c:v>56426</c:v>
                </c:pt>
                <c:pt idx="327">
                  <c:v>56441</c:v>
                </c:pt>
                <c:pt idx="328">
                  <c:v>56486</c:v>
                </c:pt>
                <c:pt idx="329">
                  <c:v>56553</c:v>
                </c:pt>
                <c:pt idx="330">
                  <c:v>56579</c:v>
                </c:pt>
                <c:pt idx="331">
                  <c:v>56590</c:v>
                </c:pt>
                <c:pt idx="332">
                  <c:v>56638</c:v>
                </c:pt>
                <c:pt idx="333">
                  <c:v>56689</c:v>
                </c:pt>
                <c:pt idx="334">
                  <c:v>56725</c:v>
                </c:pt>
                <c:pt idx="335">
                  <c:v>56776</c:v>
                </c:pt>
                <c:pt idx="336">
                  <c:v>56836</c:v>
                </c:pt>
                <c:pt idx="337">
                  <c:v>56846</c:v>
                </c:pt>
                <c:pt idx="338">
                  <c:v>56851</c:v>
                </c:pt>
                <c:pt idx="339">
                  <c:v>56880</c:v>
                </c:pt>
                <c:pt idx="340">
                  <c:v>56908</c:v>
                </c:pt>
                <c:pt idx="341">
                  <c:v>56941</c:v>
                </c:pt>
                <c:pt idx="342">
                  <c:v>56964</c:v>
                </c:pt>
                <c:pt idx="343">
                  <c:v>56995</c:v>
                </c:pt>
                <c:pt idx="344">
                  <c:v>56999</c:v>
                </c:pt>
                <c:pt idx="345">
                  <c:v>57001</c:v>
                </c:pt>
                <c:pt idx="346">
                  <c:v>57021</c:v>
                </c:pt>
                <c:pt idx="347">
                  <c:v>57039</c:v>
                </c:pt>
                <c:pt idx="348">
                  <c:v>57063</c:v>
                </c:pt>
                <c:pt idx="349">
                  <c:v>57083</c:v>
                </c:pt>
                <c:pt idx="350">
                  <c:v>57102</c:v>
                </c:pt>
                <c:pt idx="351">
                  <c:v>57106</c:v>
                </c:pt>
                <c:pt idx="352">
                  <c:v>57108</c:v>
                </c:pt>
                <c:pt idx="353">
                  <c:v>57121</c:v>
                </c:pt>
                <c:pt idx="354">
                  <c:v>57132</c:v>
                </c:pt>
                <c:pt idx="355">
                  <c:v>57145</c:v>
                </c:pt>
                <c:pt idx="356">
                  <c:v>57161</c:v>
                </c:pt>
                <c:pt idx="357">
                  <c:v>571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D$1</c:f>
              <c:strCache>
                <c:ptCount val="16"/>
                <c:pt idx="0">
                  <c:v>29.08 - 04.09</c:v>
                </c:pt>
                <c:pt idx="1">
                  <c:v>05.09 - 11.09</c:v>
                </c:pt>
                <c:pt idx="2">
                  <c:v>12.09 - 18.09</c:v>
                </c:pt>
                <c:pt idx="3">
                  <c:v>19.09 - 25.09</c:v>
                </c:pt>
                <c:pt idx="4">
                  <c:v>26.09 - 02.10</c:v>
                </c:pt>
                <c:pt idx="5">
                  <c:v>03.10 - 09.10</c:v>
                </c:pt>
                <c:pt idx="6">
                  <c:v>10.10 - 16.10</c:v>
                </c:pt>
                <c:pt idx="7">
                  <c:v>17.10 - 23.10</c:v>
                </c:pt>
                <c:pt idx="8">
                  <c:v>24.10 - 30.10</c:v>
                </c:pt>
                <c:pt idx="9">
                  <c:v>31.10 - 06.11</c:v>
                </c:pt>
                <c:pt idx="10">
                  <c:v>07.11 - 13.11</c:v>
                </c:pt>
                <c:pt idx="11">
                  <c:v>14.11 - 20.11</c:v>
                </c:pt>
                <c:pt idx="12">
                  <c:v>21.11 - 27.11</c:v>
                </c:pt>
                <c:pt idx="13">
                  <c:v>28.11 - 04.12</c:v>
                </c:pt>
                <c:pt idx="14">
                  <c:v>05.12 - 11.12</c:v>
                </c:pt>
                <c:pt idx="15">
                  <c:v>12.12 - 18.12</c:v>
                </c:pt>
              </c:strCache>
            </c:strRef>
          </c:cat>
          <c:val>
            <c:numRef>
              <c:f>List1!$O$2:$AD$2</c:f>
              <c:numCache>
                <c:formatCode>General</c:formatCode>
                <c:ptCount val="16"/>
                <c:pt idx="0">
                  <c:v>9.5994758999999998</c:v>
                </c:pt>
                <c:pt idx="1">
                  <c:v>24.786916999999999</c:v>
                </c:pt>
                <c:pt idx="2">
                  <c:v>40.740522200000001</c:v>
                </c:pt>
                <c:pt idx="3">
                  <c:v>54.092382999999998</c:v>
                </c:pt>
                <c:pt idx="4">
                  <c:v>68.776367699999994</c:v>
                </c:pt>
                <c:pt idx="5">
                  <c:v>137.63030209999999</c:v>
                </c:pt>
                <c:pt idx="6">
                  <c:v>220.0707908</c:v>
                </c:pt>
                <c:pt idx="7">
                  <c:v>315.7413651</c:v>
                </c:pt>
                <c:pt idx="8">
                  <c:v>258.38498240000001</c:v>
                </c:pt>
                <c:pt idx="9">
                  <c:v>186.9855809</c:v>
                </c:pt>
                <c:pt idx="10">
                  <c:v>114.3229079</c:v>
                </c:pt>
                <c:pt idx="11">
                  <c:v>91.482912900000002</c:v>
                </c:pt>
                <c:pt idx="12">
                  <c:v>86.726170400000001</c:v>
                </c:pt>
                <c:pt idx="13">
                  <c:v>98.645362899999995</c:v>
                </c:pt>
                <c:pt idx="14">
                  <c:v>123.9005906</c:v>
                </c:pt>
                <c:pt idx="15">
                  <c:v>149.4253511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D$1</c:f>
              <c:strCache>
                <c:ptCount val="16"/>
                <c:pt idx="0">
                  <c:v>29.08 - 04.09</c:v>
                </c:pt>
                <c:pt idx="1">
                  <c:v>05.09 - 11.09</c:v>
                </c:pt>
                <c:pt idx="2">
                  <c:v>12.09 - 18.09</c:v>
                </c:pt>
                <c:pt idx="3">
                  <c:v>19.09 - 25.09</c:v>
                </c:pt>
                <c:pt idx="4">
                  <c:v>26.09 - 02.10</c:v>
                </c:pt>
                <c:pt idx="5">
                  <c:v>03.10 - 09.10</c:v>
                </c:pt>
                <c:pt idx="6">
                  <c:v>10.10 - 16.10</c:v>
                </c:pt>
                <c:pt idx="7">
                  <c:v>17.10 - 23.10</c:v>
                </c:pt>
                <c:pt idx="8">
                  <c:v>24.10 - 30.10</c:v>
                </c:pt>
                <c:pt idx="9">
                  <c:v>31.10 - 06.11</c:v>
                </c:pt>
                <c:pt idx="10">
                  <c:v>07.11 - 13.11</c:v>
                </c:pt>
                <c:pt idx="11">
                  <c:v>14.11 - 20.11</c:v>
                </c:pt>
                <c:pt idx="12">
                  <c:v>21.11 - 27.11</c:v>
                </c:pt>
                <c:pt idx="13">
                  <c:v>28.11 - 04.12</c:v>
                </c:pt>
                <c:pt idx="14">
                  <c:v>05.12 - 11.12</c:v>
                </c:pt>
                <c:pt idx="15">
                  <c:v>12.12 - 18.12</c:v>
                </c:pt>
              </c:strCache>
            </c:strRef>
          </c:cat>
          <c:val>
            <c:numRef>
              <c:f>List1!$O$3:$AD$3</c:f>
              <c:numCache>
                <c:formatCode>General</c:formatCode>
                <c:ptCount val="16"/>
                <c:pt idx="0">
                  <c:v>3.6119739000000002</c:v>
                </c:pt>
                <c:pt idx="1">
                  <c:v>2.4953281</c:v>
                </c:pt>
                <c:pt idx="2">
                  <c:v>2.7664659999999999</c:v>
                </c:pt>
                <c:pt idx="3">
                  <c:v>3.3124465000000001</c:v>
                </c:pt>
                <c:pt idx="4">
                  <c:v>8.5386275999999999</c:v>
                </c:pt>
                <c:pt idx="5">
                  <c:v>5.7795354000000003</c:v>
                </c:pt>
                <c:pt idx="6">
                  <c:v>10.7315623</c:v>
                </c:pt>
                <c:pt idx="7">
                  <c:v>26.4115748</c:v>
                </c:pt>
                <c:pt idx="8">
                  <c:v>44.836881699999999</c:v>
                </c:pt>
                <c:pt idx="9">
                  <c:v>64.917560199999997</c:v>
                </c:pt>
                <c:pt idx="10">
                  <c:v>83.920316900000003</c:v>
                </c:pt>
                <c:pt idx="11">
                  <c:v>98.804982600000002</c:v>
                </c:pt>
                <c:pt idx="12">
                  <c:v>97.455154100000001</c:v>
                </c:pt>
                <c:pt idx="13">
                  <c:v>84.817642000000006</c:v>
                </c:pt>
                <c:pt idx="14">
                  <c:v>58.128483199999998</c:v>
                </c:pt>
                <c:pt idx="15">
                  <c:v>38.3080518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14</c:f>
              <c:numCache>
                <c:formatCode>m/d/yyyy</c:formatCode>
                <c:ptCount val="180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</c:numCache>
            </c:numRef>
          </c:cat>
          <c:val>
            <c:numRef>
              <c:f>Sheet1!$B$135:$B$314</c:f>
              <c:numCache>
                <c:formatCode>General</c:formatCode>
                <c:ptCount val="180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5</c:v>
                </c:pt>
                <c:pt idx="28">
                  <c:v>1</c:v>
                </c:pt>
                <c:pt idx="29">
                  <c:v>4</c:v>
                </c:pt>
                <c:pt idx="30">
                  <c:v>0</c:v>
                </c:pt>
                <c:pt idx="31">
                  <c:v>4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3</c:v>
                </c:pt>
                <c:pt idx="54">
                  <c:v>1</c:v>
                </c:pt>
                <c:pt idx="55">
                  <c:v>3</c:v>
                </c:pt>
                <c:pt idx="56">
                  <c:v>3</c:v>
                </c:pt>
                <c:pt idx="57">
                  <c:v>2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1</c:v>
                </c:pt>
                <c:pt idx="62">
                  <c:v>5</c:v>
                </c:pt>
                <c:pt idx="63">
                  <c:v>2</c:v>
                </c:pt>
                <c:pt idx="64">
                  <c:v>0</c:v>
                </c:pt>
                <c:pt idx="65">
                  <c:v>2</c:v>
                </c:pt>
                <c:pt idx="66">
                  <c:v>1</c:v>
                </c:pt>
                <c:pt idx="67">
                  <c:v>2</c:v>
                </c:pt>
                <c:pt idx="68">
                  <c:v>1</c:v>
                </c:pt>
                <c:pt idx="69">
                  <c:v>0</c:v>
                </c:pt>
                <c:pt idx="70">
                  <c:v>2</c:v>
                </c:pt>
                <c:pt idx="71">
                  <c:v>1</c:v>
                </c:pt>
                <c:pt idx="72">
                  <c:v>6</c:v>
                </c:pt>
                <c:pt idx="73">
                  <c:v>6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6</c:v>
                </c:pt>
                <c:pt idx="78">
                  <c:v>1</c:v>
                </c:pt>
                <c:pt idx="79">
                  <c:v>4</c:v>
                </c:pt>
                <c:pt idx="80">
                  <c:v>0</c:v>
                </c:pt>
                <c:pt idx="81">
                  <c:v>1</c:v>
                </c:pt>
                <c:pt idx="82">
                  <c:v>2</c:v>
                </c:pt>
                <c:pt idx="83">
                  <c:v>3</c:v>
                </c:pt>
                <c:pt idx="84">
                  <c:v>5</c:v>
                </c:pt>
                <c:pt idx="85">
                  <c:v>3</c:v>
                </c:pt>
                <c:pt idx="86">
                  <c:v>8</c:v>
                </c:pt>
                <c:pt idx="87">
                  <c:v>6</c:v>
                </c:pt>
                <c:pt idx="88">
                  <c:v>2</c:v>
                </c:pt>
                <c:pt idx="89">
                  <c:v>2</c:v>
                </c:pt>
                <c:pt idx="90">
                  <c:v>10</c:v>
                </c:pt>
                <c:pt idx="91">
                  <c:v>7</c:v>
                </c:pt>
                <c:pt idx="92">
                  <c:v>6</c:v>
                </c:pt>
                <c:pt idx="93">
                  <c:v>5</c:v>
                </c:pt>
                <c:pt idx="94">
                  <c:v>7</c:v>
                </c:pt>
                <c:pt idx="95">
                  <c:v>6</c:v>
                </c:pt>
                <c:pt idx="96">
                  <c:v>6</c:v>
                </c:pt>
                <c:pt idx="97">
                  <c:v>5</c:v>
                </c:pt>
                <c:pt idx="98">
                  <c:v>9</c:v>
                </c:pt>
                <c:pt idx="99">
                  <c:v>12</c:v>
                </c:pt>
                <c:pt idx="100">
                  <c:v>16</c:v>
                </c:pt>
                <c:pt idx="101">
                  <c:v>8</c:v>
                </c:pt>
                <c:pt idx="102">
                  <c:v>5</c:v>
                </c:pt>
                <c:pt idx="103">
                  <c:v>8</c:v>
                </c:pt>
                <c:pt idx="104">
                  <c:v>10</c:v>
                </c:pt>
                <c:pt idx="105">
                  <c:v>13</c:v>
                </c:pt>
                <c:pt idx="106">
                  <c:v>9</c:v>
                </c:pt>
                <c:pt idx="107">
                  <c:v>8</c:v>
                </c:pt>
                <c:pt idx="108">
                  <c:v>9</c:v>
                </c:pt>
                <c:pt idx="109">
                  <c:v>5</c:v>
                </c:pt>
                <c:pt idx="110">
                  <c:v>4</c:v>
                </c:pt>
                <c:pt idx="111">
                  <c:v>18</c:v>
                </c:pt>
                <c:pt idx="112">
                  <c:v>19</c:v>
                </c:pt>
                <c:pt idx="113">
                  <c:v>22</c:v>
                </c:pt>
                <c:pt idx="114">
                  <c:v>21</c:v>
                </c:pt>
                <c:pt idx="115">
                  <c:v>17</c:v>
                </c:pt>
                <c:pt idx="116">
                  <c:v>10</c:v>
                </c:pt>
                <c:pt idx="117">
                  <c:v>10</c:v>
                </c:pt>
                <c:pt idx="118">
                  <c:v>35</c:v>
                </c:pt>
                <c:pt idx="119">
                  <c:v>29</c:v>
                </c:pt>
                <c:pt idx="120">
                  <c:v>26</c:v>
                </c:pt>
                <c:pt idx="121">
                  <c:v>53</c:v>
                </c:pt>
                <c:pt idx="122">
                  <c:v>43</c:v>
                </c:pt>
                <c:pt idx="123">
                  <c:v>34</c:v>
                </c:pt>
                <c:pt idx="124">
                  <c:v>11</c:v>
                </c:pt>
                <c:pt idx="125">
                  <c:v>65</c:v>
                </c:pt>
                <c:pt idx="126">
                  <c:v>68</c:v>
                </c:pt>
                <c:pt idx="127">
                  <c:v>77</c:v>
                </c:pt>
                <c:pt idx="128">
                  <c:v>34</c:v>
                </c:pt>
                <c:pt idx="129">
                  <c:v>81</c:v>
                </c:pt>
                <c:pt idx="130">
                  <c:v>63</c:v>
                </c:pt>
                <c:pt idx="131">
                  <c:v>37</c:v>
                </c:pt>
                <c:pt idx="132">
                  <c:v>111</c:v>
                </c:pt>
                <c:pt idx="133">
                  <c:v>104</c:v>
                </c:pt>
                <c:pt idx="134">
                  <c:v>117</c:v>
                </c:pt>
                <c:pt idx="135">
                  <c:v>102</c:v>
                </c:pt>
                <c:pt idx="136">
                  <c:v>112</c:v>
                </c:pt>
                <c:pt idx="137">
                  <c:v>83</c:v>
                </c:pt>
                <c:pt idx="138">
                  <c:v>28</c:v>
                </c:pt>
                <c:pt idx="139">
                  <c:v>134</c:v>
                </c:pt>
                <c:pt idx="140">
                  <c:v>147</c:v>
                </c:pt>
                <c:pt idx="141">
                  <c:v>168</c:v>
                </c:pt>
                <c:pt idx="142">
                  <c:v>95</c:v>
                </c:pt>
                <c:pt idx="143">
                  <c:v>162</c:v>
                </c:pt>
                <c:pt idx="144">
                  <c:v>97</c:v>
                </c:pt>
                <c:pt idx="145">
                  <c:v>54</c:v>
                </c:pt>
                <c:pt idx="146">
                  <c:v>160</c:v>
                </c:pt>
                <c:pt idx="147">
                  <c:v>230</c:v>
                </c:pt>
                <c:pt idx="148">
                  <c:v>120</c:v>
                </c:pt>
                <c:pt idx="149">
                  <c:v>167</c:v>
                </c:pt>
                <c:pt idx="150">
                  <c:v>236</c:v>
                </c:pt>
                <c:pt idx="151">
                  <c:v>154</c:v>
                </c:pt>
                <c:pt idx="152">
                  <c:v>85</c:v>
                </c:pt>
                <c:pt idx="153">
                  <c:v>192</c:v>
                </c:pt>
                <c:pt idx="154">
                  <c:v>259</c:v>
                </c:pt>
                <c:pt idx="155">
                  <c:v>141</c:v>
                </c:pt>
                <c:pt idx="156">
                  <c:v>214</c:v>
                </c:pt>
                <c:pt idx="157">
                  <c:v>188</c:v>
                </c:pt>
                <c:pt idx="158">
                  <c:v>108</c:v>
                </c:pt>
                <c:pt idx="159">
                  <c:v>78</c:v>
                </c:pt>
                <c:pt idx="160">
                  <c:v>200</c:v>
                </c:pt>
                <c:pt idx="161">
                  <c:v>163</c:v>
                </c:pt>
                <c:pt idx="162">
                  <c:v>174</c:v>
                </c:pt>
                <c:pt idx="163">
                  <c:v>145</c:v>
                </c:pt>
                <c:pt idx="164">
                  <c:v>145</c:v>
                </c:pt>
                <c:pt idx="165">
                  <c:v>86</c:v>
                </c:pt>
                <c:pt idx="166">
                  <c:v>65</c:v>
                </c:pt>
                <c:pt idx="167">
                  <c:v>167</c:v>
                </c:pt>
                <c:pt idx="168">
                  <c:v>152</c:v>
                </c:pt>
                <c:pt idx="169">
                  <c:v>121</c:v>
                </c:pt>
                <c:pt idx="170">
                  <c:v>127</c:v>
                </c:pt>
                <c:pt idx="171">
                  <c:v>112</c:v>
                </c:pt>
                <c:pt idx="172">
                  <c:v>74</c:v>
                </c:pt>
                <c:pt idx="173">
                  <c:v>58</c:v>
                </c:pt>
                <c:pt idx="174">
                  <c:v>103</c:v>
                </c:pt>
                <c:pt idx="175">
                  <c:v>124</c:v>
                </c:pt>
                <c:pt idx="176">
                  <c:v>84</c:v>
                </c:pt>
                <c:pt idx="177">
                  <c:v>62</c:v>
                </c:pt>
                <c:pt idx="178">
                  <c:v>72</c:v>
                </c:pt>
                <c:pt idx="179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D$1</c:f>
              <c:strCache>
                <c:ptCount val="16"/>
                <c:pt idx="0">
                  <c:v>29.08 - 04.09</c:v>
                </c:pt>
                <c:pt idx="1">
                  <c:v>05.09 - 11.09</c:v>
                </c:pt>
                <c:pt idx="2">
                  <c:v>12.09 - 18.09</c:v>
                </c:pt>
                <c:pt idx="3">
                  <c:v>19.09 - 25.09</c:v>
                </c:pt>
                <c:pt idx="4">
                  <c:v>26.09 - 02.10</c:v>
                </c:pt>
                <c:pt idx="5">
                  <c:v>03.10 - 09.10</c:v>
                </c:pt>
                <c:pt idx="6">
                  <c:v>10.10 - 16.10</c:v>
                </c:pt>
                <c:pt idx="7">
                  <c:v>17.10 - 23.10</c:v>
                </c:pt>
                <c:pt idx="8">
                  <c:v>24.10 - 30.10</c:v>
                </c:pt>
                <c:pt idx="9">
                  <c:v>31.10 - 06.11</c:v>
                </c:pt>
                <c:pt idx="10">
                  <c:v>07.11 - 13.11</c:v>
                </c:pt>
                <c:pt idx="11">
                  <c:v>14.11 - 20.11</c:v>
                </c:pt>
                <c:pt idx="12">
                  <c:v>21.11 - 27.11</c:v>
                </c:pt>
                <c:pt idx="13">
                  <c:v>28.11 - 04.12</c:v>
                </c:pt>
                <c:pt idx="14">
                  <c:v>05.12 - 11.12</c:v>
                </c:pt>
                <c:pt idx="15">
                  <c:v>12.12 - 18.12</c:v>
                </c:pt>
              </c:strCache>
            </c:strRef>
          </c:cat>
          <c:val>
            <c:numRef>
              <c:f>List1!$O$2:$AD$2</c:f>
              <c:numCache>
                <c:formatCode>General</c:formatCode>
                <c:ptCount val="16"/>
                <c:pt idx="0">
                  <c:v>11.4181641</c:v>
                </c:pt>
                <c:pt idx="1">
                  <c:v>18.162311899999999</c:v>
                </c:pt>
                <c:pt idx="2">
                  <c:v>38.246133499999999</c:v>
                </c:pt>
                <c:pt idx="3">
                  <c:v>45.498908100000001</c:v>
                </c:pt>
                <c:pt idx="4">
                  <c:v>67.736900300000002</c:v>
                </c:pt>
                <c:pt idx="5">
                  <c:v>136.14646669999999</c:v>
                </c:pt>
                <c:pt idx="6">
                  <c:v>257.73304059999998</c:v>
                </c:pt>
                <c:pt idx="7">
                  <c:v>410.51201479999997</c:v>
                </c:pt>
                <c:pt idx="8">
                  <c:v>430.46394600000002</c:v>
                </c:pt>
                <c:pt idx="9">
                  <c:v>350.65353499999998</c:v>
                </c:pt>
                <c:pt idx="10">
                  <c:v>218.34487060000001</c:v>
                </c:pt>
                <c:pt idx="11">
                  <c:v>173.71986000000001</c:v>
                </c:pt>
                <c:pt idx="12">
                  <c:v>152.4080754</c:v>
                </c:pt>
                <c:pt idx="13">
                  <c:v>144.32640269999999</c:v>
                </c:pt>
                <c:pt idx="14">
                  <c:v>170.27311689999999</c:v>
                </c:pt>
                <c:pt idx="15">
                  <c:v>167.7594134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4FA-4D94-A4CE-CDB0E0CDD4B1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D$1</c:f>
              <c:strCache>
                <c:ptCount val="16"/>
                <c:pt idx="0">
                  <c:v>29.08 - 04.09</c:v>
                </c:pt>
                <c:pt idx="1">
                  <c:v>05.09 - 11.09</c:v>
                </c:pt>
                <c:pt idx="2">
                  <c:v>12.09 - 18.09</c:v>
                </c:pt>
                <c:pt idx="3">
                  <c:v>19.09 - 25.09</c:v>
                </c:pt>
                <c:pt idx="4">
                  <c:v>26.09 - 02.10</c:v>
                </c:pt>
                <c:pt idx="5">
                  <c:v>03.10 - 09.10</c:v>
                </c:pt>
                <c:pt idx="6">
                  <c:v>10.10 - 16.10</c:v>
                </c:pt>
                <c:pt idx="7">
                  <c:v>17.10 - 23.10</c:v>
                </c:pt>
                <c:pt idx="8">
                  <c:v>24.10 - 30.10</c:v>
                </c:pt>
                <c:pt idx="9">
                  <c:v>31.10 - 06.11</c:v>
                </c:pt>
                <c:pt idx="10">
                  <c:v>07.11 - 13.11</c:v>
                </c:pt>
                <c:pt idx="11">
                  <c:v>14.11 - 20.11</c:v>
                </c:pt>
                <c:pt idx="12">
                  <c:v>21.11 - 27.11</c:v>
                </c:pt>
                <c:pt idx="13">
                  <c:v>28.11 - 04.12</c:v>
                </c:pt>
                <c:pt idx="14">
                  <c:v>05.12 - 11.12</c:v>
                </c:pt>
                <c:pt idx="15">
                  <c:v>12.12 - 18.12</c:v>
                </c:pt>
              </c:strCache>
            </c:strRef>
          </c:cat>
          <c:val>
            <c:numRef>
              <c:f>List1!$O$3:$AD$3</c:f>
              <c:numCache>
                <c:formatCode>General</c:formatCode>
                <c:ptCount val="16"/>
                <c:pt idx="0">
                  <c:v>2.2051384999999999</c:v>
                </c:pt>
                <c:pt idx="1">
                  <c:v>1.9280638999999999</c:v>
                </c:pt>
                <c:pt idx="2">
                  <c:v>3.5777928999999999</c:v>
                </c:pt>
                <c:pt idx="3">
                  <c:v>5.9123351</c:v>
                </c:pt>
                <c:pt idx="4">
                  <c:v>7.8310579000000002</c:v>
                </c:pt>
                <c:pt idx="5">
                  <c:v>8.3784533000000003</c:v>
                </c:pt>
                <c:pt idx="6">
                  <c:v>14.2844585</c:v>
                </c:pt>
                <c:pt idx="7">
                  <c:v>28.706030999999999</c:v>
                </c:pt>
                <c:pt idx="8">
                  <c:v>50.132060199999998</c:v>
                </c:pt>
                <c:pt idx="9">
                  <c:v>86.122114800000006</c:v>
                </c:pt>
                <c:pt idx="10">
                  <c:v>105.6410101</c:v>
                </c:pt>
                <c:pt idx="11">
                  <c:v>141.37742</c:v>
                </c:pt>
                <c:pt idx="12">
                  <c:v>151.290088</c:v>
                </c:pt>
                <c:pt idx="13">
                  <c:v>123.8418178</c:v>
                </c:pt>
                <c:pt idx="14">
                  <c:v>103.4359439</c:v>
                </c:pt>
                <c:pt idx="15">
                  <c:v>67.173126300000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4FA-4D94-A4CE-CDB0E0CDD4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14</c:f>
              <c:numCache>
                <c:formatCode>m/d/yyyy</c:formatCode>
                <c:ptCount val="180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</c:numCache>
            </c:numRef>
          </c:cat>
          <c:val>
            <c:numRef>
              <c:f>Sheet1!$B$135:$B$314</c:f>
              <c:numCache>
                <c:formatCode>General</c:formatCode>
                <c:ptCount val="180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4</c:v>
                </c:pt>
                <c:pt idx="18">
                  <c:v>4</c:v>
                </c:pt>
                <c:pt idx="19">
                  <c:v>0</c:v>
                </c:pt>
                <c:pt idx="20">
                  <c:v>3</c:v>
                </c:pt>
                <c:pt idx="21">
                  <c:v>0</c:v>
                </c:pt>
                <c:pt idx="22">
                  <c:v>4</c:v>
                </c:pt>
                <c:pt idx="23">
                  <c:v>2</c:v>
                </c:pt>
                <c:pt idx="24">
                  <c:v>5</c:v>
                </c:pt>
                <c:pt idx="25">
                  <c:v>1</c:v>
                </c:pt>
                <c:pt idx="26">
                  <c:v>1</c:v>
                </c:pt>
                <c:pt idx="27">
                  <c:v>4</c:v>
                </c:pt>
                <c:pt idx="28">
                  <c:v>5</c:v>
                </c:pt>
                <c:pt idx="29">
                  <c:v>1</c:v>
                </c:pt>
                <c:pt idx="30">
                  <c:v>3</c:v>
                </c:pt>
                <c:pt idx="31">
                  <c:v>2</c:v>
                </c:pt>
                <c:pt idx="32">
                  <c:v>0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1</c:v>
                </c:pt>
                <c:pt idx="37">
                  <c:v>4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4</c:v>
                </c:pt>
                <c:pt idx="43">
                  <c:v>3</c:v>
                </c:pt>
                <c:pt idx="44">
                  <c:v>1</c:v>
                </c:pt>
                <c:pt idx="45">
                  <c:v>3</c:v>
                </c:pt>
                <c:pt idx="46">
                  <c:v>1</c:v>
                </c:pt>
                <c:pt idx="47">
                  <c:v>0</c:v>
                </c:pt>
                <c:pt idx="48">
                  <c:v>8</c:v>
                </c:pt>
                <c:pt idx="49">
                  <c:v>1</c:v>
                </c:pt>
                <c:pt idx="50">
                  <c:v>1</c:v>
                </c:pt>
                <c:pt idx="51">
                  <c:v>2</c:v>
                </c:pt>
                <c:pt idx="52">
                  <c:v>6</c:v>
                </c:pt>
                <c:pt idx="53">
                  <c:v>2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0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3</c:v>
                </c:pt>
                <c:pt idx="64">
                  <c:v>5</c:v>
                </c:pt>
                <c:pt idx="65">
                  <c:v>2</c:v>
                </c:pt>
                <c:pt idx="66">
                  <c:v>2</c:v>
                </c:pt>
                <c:pt idx="67">
                  <c:v>0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5</c:v>
                </c:pt>
                <c:pt idx="73">
                  <c:v>6</c:v>
                </c:pt>
                <c:pt idx="74">
                  <c:v>5</c:v>
                </c:pt>
                <c:pt idx="75">
                  <c:v>1</c:v>
                </c:pt>
                <c:pt idx="76">
                  <c:v>5</c:v>
                </c:pt>
                <c:pt idx="77">
                  <c:v>4</c:v>
                </c:pt>
                <c:pt idx="78">
                  <c:v>1</c:v>
                </c:pt>
                <c:pt idx="79">
                  <c:v>3</c:v>
                </c:pt>
                <c:pt idx="80">
                  <c:v>2</c:v>
                </c:pt>
                <c:pt idx="81">
                  <c:v>0</c:v>
                </c:pt>
                <c:pt idx="82">
                  <c:v>3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7</c:v>
                </c:pt>
                <c:pt idx="87">
                  <c:v>4</c:v>
                </c:pt>
                <c:pt idx="88">
                  <c:v>2</c:v>
                </c:pt>
                <c:pt idx="89">
                  <c:v>6</c:v>
                </c:pt>
                <c:pt idx="90">
                  <c:v>8</c:v>
                </c:pt>
                <c:pt idx="91">
                  <c:v>9</c:v>
                </c:pt>
                <c:pt idx="92">
                  <c:v>8</c:v>
                </c:pt>
                <c:pt idx="93">
                  <c:v>7</c:v>
                </c:pt>
                <c:pt idx="94">
                  <c:v>5</c:v>
                </c:pt>
                <c:pt idx="95">
                  <c:v>4</c:v>
                </c:pt>
                <c:pt idx="96">
                  <c:v>2</c:v>
                </c:pt>
                <c:pt idx="97">
                  <c:v>7</c:v>
                </c:pt>
                <c:pt idx="98">
                  <c:v>6</c:v>
                </c:pt>
                <c:pt idx="99">
                  <c:v>9</c:v>
                </c:pt>
                <c:pt idx="100">
                  <c:v>12</c:v>
                </c:pt>
                <c:pt idx="101">
                  <c:v>11</c:v>
                </c:pt>
                <c:pt idx="102">
                  <c:v>4</c:v>
                </c:pt>
                <c:pt idx="103">
                  <c:v>7</c:v>
                </c:pt>
                <c:pt idx="104">
                  <c:v>10</c:v>
                </c:pt>
                <c:pt idx="105">
                  <c:v>13</c:v>
                </c:pt>
                <c:pt idx="106">
                  <c:v>13</c:v>
                </c:pt>
                <c:pt idx="107">
                  <c:v>16</c:v>
                </c:pt>
                <c:pt idx="108">
                  <c:v>10</c:v>
                </c:pt>
                <c:pt idx="109">
                  <c:v>8</c:v>
                </c:pt>
                <c:pt idx="110">
                  <c:v>5</c:v>
                </c:pt>
                <c:pt idx="111">
                  <c:v>19</c:v>
                </c:pt>
                <c:pt idx="112">
                  <c:v>31</c:v>
                </c:pt>
                <c:pt idx="113">
                  <c:v>18</c:v>
                </c:pt>
                <c:pt idx="114">
                  <c:v>19</c:v>
                </c:pt>
                <c:pt idx="115">
                  <c:v>14</c:v>
                </c:pt>
                <c:pt idx="116">
                  <c:v>9</c:v>
                </c:pt>
                <c:pt idx="117">
                  <c:v>13</c:v>
                </c:pt>
                <c:pt idx="118">
                  <c:v>39</c:v>
                </c:pt>
                <c:pt idx="119">
                  <c:v>55</c:v>
                </c:pt>
                <c:pt idx="120">
                  <c:v>50</c:v>
                </c:pt>
                <c:pt idx="121">
                  <c:v>54</c:v>
                </c:pt>
                <c:pt idx="122">
                  <c:v>46</c:v>
                </c:pt>
                <c:pt idx="123">
                  <c:v>28</c:v>
                </c:pt>
                <c:pt idx="124">
                  <c:v>22</c:v>
                </c:pt>
                <c:pt idx="125">
                  <c:v>81</c:v>
                </c:pt>
                <c:pt idx="126">
                  <c:v>87</c:v>
                </c:pt>
                <c:pt idx="127">
                  <c:v>65</c:v>
                </c:pt>
                <c:pt idx="128">
                  <c:v>41</c:v>
                </c:pt>
                <c:pt idx="129">
                  <c:v>83</c:v>
                </c:pt>
                <c:pt idx="130">
                  <c:v>55</c:v>
                </c:pt>
                <c:pt idx="131">
                  <c:v>42</c:v>
                </c:pt>
                <c:pt idx="132">
                  <c:v>136</c:v>
                </c:pt>
                <c:pt idx="133">
                  <c:v>128</c:v>
                </c:pt>
                <c:pt idx="134">
                  <c:v>106</c:v>
                </c:pt>
                <c:pt idx="135">
                  <c:v>115</c:v>
                </c:pt>
                <c:pt idx="136">
                  <c:v>133</c:v>
                </c:pt>
                <c:pt idx="137">
                  <c:v>55</c:v>
                </c:pt>
                <c:pt idx="138">
                  <c:v>39</c:v>
                </c:pt>
                <c:pt idx="139">
                  <c:v>129</c:v>
                </c:pt>
                <c:pt idx="140">
                  <c:v>149</c:v>
                </c:pt>
                <c:pt idx="141">
                  <c:v>142</c:v>
                </c:pt>
                <c:pt idx="142">
                  <c:v>121</c:v>
                </c:pt>
                <c:pt idx="143">
                  <c:v>170</c:v>
                </c:pt>
                <c:pt idx="144">
                  <c:v>97</c:v>
                </c:pt>
                <c:pt idx="145">
                  <c:v>53</c:v>
                </c:pt>
                <c:pt idx="146">
                  <c:v>166</c:v>
                </c:pt>
                <c:pt idx="147">
                  <c:v>201</c:v>
                </c:pt>
                <c:pt idx="148">
                  <c:v>144</c:v>
                </c:pt>
                <c:pt idx="149">
                  <c:v>166</c:v>
                </c:pt>
                <c:pt idx="150">
                  <c:v>256</c:v>
                </c:pt>
                <c:pt idx="151">
                  <c:v>125</c:v>
                </c:pt>
                <c:pt idx="152">
                  <c:v>91</c:v>
                </c:pt>
                <c:pt idx="153">
                  <c:v>205</c:v>
                </c:pt>
                <c:pt idx="154">
                  <c:v>216</c:v>
                </c:pt>
                <c:pt idx="155">
                  <c:v>184</c:v>
                </c:pt>
                <c:pt idx="156">
                  <c:v>262</c:v>
                </c:pt>
                <c:pt idx="157">
                  <c:v>157</c:v>
                </c:pt>
                <c:pt idx="158">
                  <c:v>118</c:v>
                </c:pt>
                <c:pt idx="159">
                  <c:v>83</c:v>
                </c:pt>
                <c:pt idx="160">
                  <c:v>210</c:v>
                </c:pt>
                <c:pt idx="161">
                  <c:v>191</c:v>
                </c:pt>
                <c:pt idx="162">
                  <c:v>171</c:v>
                </c:pt>
                <c:pt idx="163">
                  <c:v>131</c:v>
                </c:pt>
                <c:pt idx="164">
                  <c:v>161</c:v>
                </c:pt>
                <c:pt idx="165">
                  <c:v>100</c:v>
                </c:pt>
                <c:pt idx="166">
                  <c:v>66</c:v>
                </c:pt>
                <c:pt idx="167">
                  <c:v>199</c:v>
                </c:pt>
                <c:pt idx="168">
                  <c:v>167</c:v>
                </c:pt>
                <c:pt idx="169">
                  <c:v>142</c:v>
                </c:pt>
                <c:pt idx="170">
                  <c:v>116</c:v>
                </c:pt>
                <c:pt idx="171">
                  <c:v>99</c:v>
                </c:pt>
                <c:pt idx="172">
                  <c:v>78</c:v>
                </c:pt>
                <c:pt idx="173">
                  <c:v>61</c:v>
                </c:pt>
                <c:pt idx="174">
                  <c:v>122</c:v>
                </c:pt>
                <c:pt idx="175">
                  <c:v>172</c:v>
                </c:pt>
                <c:pt idx="176">
                  <c:v>96</c:v>
                </c:pt>
                <c:pt idx="177">
                  <c:v>75</c:v>
                </c:pt>
                <c:pt idx="178">
                  <c:v>80</c:v>
                </c:pt>
                <c:pt idx="179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D$1</c:f>
              <c:strCache>
                <c:ptCount val="16"/>
                <c:pt idx="0">
                  <c:v>29.08 - 04.09</c:v>
                </c:pt>
                <c:pt idx="1">
                  <c:v>05.09 - 11.09</c:v>
                </c:pt>
                <c:pt idx="2">
                  <c:v>12.09 - 18.09</c:v>
                </c:pt>
                <c:pt idx="3">
                  <c:v>19.09 - 25.09</c:v>
                </c:pt>
                <c:pt idx="4">
                  <c:v>26.09 - 02.10</c:v>
                </c:pt>
                <c:pt idx="5">
                  <c:v>03.10 - 09.10</c:v>
                </c:pt>
                <c:pt idx="6">
                  <c:v>10.10 - 16.10</c:v>
                </c:pt>
                <c:pt idx="7">
                  <c:v>17.10 - 23.10</c:v>
                </c:pt>
                <c:pt idx="8">
                  <c:v>24.10 - 30.10</c:v>
                </c:pt>
                <c:pt idx="9">
                  <c:v>31.10 - 06.11</c:v>
                </c:pt>
                <c:pt idx="10">
                  <c:v>07.11 - 13.11</c:v>
                </c:pt>
                <c:pt idx="11">
                  <c:v>14.11 - 20.11</c:v>
                </c:pt>
                <c:pt idx="12">
                  <c:v>21.11 - 27.11</c:v>
                </c:pt>
                <c:pt idx="13">
                  <c:v>28.11 - 04.12</c:v>
                </c:pt>
                <c:pt idx="14">
                  <c:v>05.12 - 11.12</c:v>
                </c:pt>
                <c:pt idx="15">
                  <c:v>12.12 - 18.12</c:v>
                </c:pt>
              </c:strCache>
            </c:strRef>
          </c:cat>
          <c:val>
            <c:numRef>
              <c:f>List1!$O$2:$AD$2</c:f>
              <c:numCache>
                <c:formatCode>General</c:formatCode>
                <c:ptCount val="16"/>
                <c:pt idx="0">
                  <c:v>9.6545752999999994</c:v>
                </c:pt>
                <c:pt idx="1">
                  <c:v>22.015211300000001</c:v>
                </c:pt>
                <c:pt idx="2">
                  <c:v>40.438468499999999</c:v>
                </c:pt>
                <c:pt idx="3">
                  <c:v>50.477533399999999</c:v>
                </c:pt>
                <c:pt idx="4">
                  <c:v>60.645045600000003</c:v>
                </c:pt>
                <c:pt idx="5">
                  <c:v>136.4365458</c:v>
                </c:pt>
                <c:pt idx="6">
                  <c:v>234.03362609999999</c:v>
                </c:pt>
                <c:pt idx="7">
                  <c:v>389.0188981</c:v>
                </c:pt>
                <c:pt idx="8">
                  <c:v>376.21195119999999</c:v>
                </c:pt>
                <c:pt idx="9">
                  <c:v>318.77251159999997</c:v>
                </c:pt>
                <c:pt idx="10">
                  <c:v>203.55622840000001</c:v>
                </c:pt>
                <c:pt idx="11">
                  <c:v>141.82990480000001</c:v>
                </c:pt>
                <c:pt idx="12">
                  <c:v>112.5765928</c:v>
                </c:pt>
                <c:pt idx="13">
                  <c:v>111.1931872</c:v>
                </c:pt>
                <c:pt idx="14">
                  <c:v>137.19493199999999</c:v>
                </c:pt>
                <c:pt idx="15">
                  <c:v>146.17044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8F6-4753-91BA-05F66EF54DB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D$1</c:f>
              <c:strCache>
                <c:ptCount val="16"/>
                <c:pt idx="0">
                  <c:v>29.08 - 04.09</c:v>
                </c:pt>
                <c:pt idx="1">
                  <c:v>05.09 - 11.09</c:v>
                </c:pt>
                <c:pt idx="2">
                  <c:v>12.09 - 18.09</c:v>
                </c:pt>
                <c:pt idx="3">
                  <c:v>19.09 - 25.09</c:v>
                </c:pt>
                <c:pt idx="4">
                  <c:v>26.09 - 02.10</c:v>
                </c:pt>
                <c:pt idx="5">
                  <c:v>03.10 - 09.10</c:v>
                </c:pt>
                <c:pt idx="6">
                  <c:v>10.10 - 16.10</c:v>
                </c:pt>
                <c:pt idx="7">
                  <c:v>17.10 - 23.10</c:v>
                </c:pt>
                <c:pt idx="8">
                  <c:v>24.10 - 30.10</c:v>
                </c:pt>
                <c:pt idx="9">
                  <c:v>31.10 - 06.11</c:v>
                </c:pt>
                <c:pt idx="10">
                  <c:v>07.11 - 13.11</c:v>
                </c:pt>
                <c:pt idx="11">
                  <c:v>14.11 - 20.11</c:v>
                </c:pt>
                <c:pt idx="12">
                  <c:v>21.11 - 27.11</c:v>
                </c:pt>
                <c:pt idx="13">
                  <c:v>28.11 - 04.12</c:v>
                </c:pt>
                <c:pt idx="14">
                  <c:v>05.12 - 11.12</c:v>
                </c:pt>
                <c:pt idx="15">
                  <c:v>12.12 - 18.12</c:v>
                </c:pt>
              </c:strCache>
            </c:strRef>
          </c:cat>
          <c:val>
            <c:numRef>
              <c:f>List1!$O$3:$AD$3</c:f>
              <c:numCache>
                <c:formatCode>General</c:formatCode>
                <c:ptCount val="16"/>
                <c:pt idx="0">
                  <c:v>3.0700744000000002</c:v>
                </c:pt>
                <c:pt idx="1">
                  <c:v>2.4570287999999998</c:v>
                </c:pt>
                <c:pt idx="2">
                  <c:v>3.9940579999999999</c:v>
                </c:pt>
                <c:pt idx="3">
                  <c:v>6.6078516</c:v>
                </c:pt>
                <c:pt idx="4">
                  <c:v>7.2253002000000004</c:v>
                </c:pt>
                <c:pt idx="5">
                  <c:v>10.922135900000001</c:v>
                </c:pt>
                <c:pt idx="6">
                  <c:v>17.241485399999998</c:v>
                </c:pt>
                <c:pt idx="7">
                  <c:v>42.209887799999997</c:v>
                </c:pt>
                <c:pt idx="8">
                  <c:v>63.051507899999997</c:v>
                </c:pt>
                <c:pt idx="9">
                  <c:v>105.6712282</c:v>
                </c:pt>
                <c:pt idx="10">
                  <c:v>124.26252890000001</c:v>
                </c:pt>
                <c:pt idx="11">
                  <c:v>162.49438140000001</c:v>
                </c:pt>
                <c:pt idx="12">
                  <c:v>178.05420140000001</c:v>
                </c:pt>
                <c:pt idx="13">
                  <c:v>152.03444669999999</c:v>
                </c:pt>
                <c:pt idx="14">
                  <c:v>124.5717362</c:v>
                </c:pt>
                <c:pt idx="15">
                  <c:v>95.3715387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F6-4753-91BA-05F66EF54D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14</c:f>
              <c:numCache>
                <c:formatCode>m/d/yyyy</c:formatCode>
                <c:ptCount val="180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</c:numCache>
            </c:numRef>
          </c:cat>
          <c:val>
            <c:numRef>
              <c:f>Sheet1!$B$135:$B$314</c:f>
              <c:numCache>
                <c:formatCode>General</c:formatCode>
                <c:ptCount val="180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4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2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4</c:v>
                </c:pt>
                <c:pt idx="18">
                  <c:v>7</c:v>
                </c:pt>
                <c:pt idx="19">
                  <c:v>1</c:v>
                </c:pt>
                <c:pt idx="20">
                  <c:v>7</c:v>
                </c:pt>
                <c:pt idx="21">
                  <c:v>4</c:v>
                </c:pt>
                <c:pt idx="22">
                  <c:v>7</c:v>
                </c:pt>
                <c:pt idx="23">
                  <c:v>5</c:v>
                </c:pt>
                <c:pt idx="24">
                  <c:v>8</c:v>
                </c:pt>
                <c:pt idx="25">
                  <c:v>3</c:v>
                </c:pt>
                <c:pt idx="26">
                  <c:v>4</c:v>
                </c:pt>
                <c:pt idx="27">
                  <c:v>11</c:v>
                </c:pt>
                <c:pt idx="28">
                  <c:v>8</c:v>
                </c:pt>
                <c:pt idx="29">
                  <c:v>7</c:v>
                </c:pt>
                <c:pt idx="30">
                  <c:v>7</c:v>
                </c:pt>
                <c:pt idx="31">
                  <c:v>6</c:v>
                </c:pt>
                <c:pt idx="32">
                  <c:v>1</c:v>
                </c:pt>
                <c:pt idx="33">
                  <c:v>4</c:v>
                </c:pt>
                <c:pt idx="34">
                  <c:v>9</c:v>
                </c:pt>
                <c:pt idx="35">
                  <c:v>5</c:v>
                </c:pt>
                <c:pt idx="36">
                  <c:v>2</c:v>
                </c:pt>
                <c:pt idx="37">
                  <c:v>8</c:v>
                </c:pt>
                <c:pt idx="38">
                  <c:v>4</c:v>
                </c:pt>
                <c:pt idx="39">
                  <c:v>2</c:v>
                </c:pt>
                <c:pt idx="40">
                  <c:v>1</c:v>
                </c:pt>
                <c:pt idx="41">
                  <c:v>2</c:v>
                </c:pt>
                <c:pt idx="42">
                  <c:v>6</c:v>
                </c:pt>
                <c:pt idx="43">
                  <c:v>11</c:v>
                </c:pt>
                <c:pt idx="44">
                  <c:v>3</c:v>
                </c:pt>
                <c:pt idx="45">
                  <c:v>6</c:v>
                </c:pt>
                <c:pt idx="46">
                  <c:v>1</c:v>
                </c:pt>
                <c:pt idx="47">
                  <c:v>3</c:v>
                </c:pt>
                <c:pt idx="48">
                  <c:v>12</c:v>
                </c:pt>
                <c:pt idx="49">
                  <c:v>3</c:v>
                </c:pt>
                <c:pt idx="50">
                  <c:v>7</c:v>
                </c:pt>
                <c:pt idx="51">
                  <c:v>4</c:v>
                </c:pt>
                <c:pt idx="52">
                  <c:v>9</c:v>
                </c:pt>
                <c:pt idx="53">
                  <c:v>5</c:v>
                </c:pt>
                <c:pt idx="54">
                  <c:v>2</c:v>
                </c:pt>
                <c:pt idx="55">
                  <c:v>7</c:v>
                </c:pt>
                <c:pt idx="56">
                  <c:v>4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2</c:v>
                </c:pt>
                <c:pt idx="61">
                  <c:v>3</c:v>
                </c:pt>
                <c:pt idx="62">
                  <c:v>8</c:v>
                </c:pt>
                <c:pt idx="63">
                  <c:v>5</c:v>
                </c:pt>
                <c:pt idx="64">
                  <c:v>6</c:v>
                </c:pt>
                <c:pt idx="65">
                  <c:v>5</c:v>
                </c:pt>
                <c:pt idx="66">
                  <c:v>4</c:v>
                </c:pt>
                <c:pt idx="67">
                  <c:v>3</c:v>
                </c:pt>
                <c:pt idx="68">
                  <c:v>2</c:v>
                </c:pt>
                <c:pt idx="69">
                  <c:v>1</c:v>
                </c:pt>
                <c:pt idx="70">
                  <c:v>7</c:v>
                </c:pt>
                <c:pt idx="71">
                  <c:v>7</c:v>
                </c:pt>
                <c:pt idx="72">
                  <c:v>12</c:v>
                </c:pt>
                <c:pt idx="73">
                  <c:v>13</c:v>
                </c:pt>
                <c:pt idx="74">
                  <c:v>9</c:v>
                </c:pt>
                <c:pt idx="75">
                  <c:v>3</c:v>
                </c:pt>
                <c:pt idx="76">
                  <c:v>7</c:v>
                </c:pt>
                <c:pt idx="77">
                  <c:v>12</c:v>
                </c:pt>
                <c:pt idx="78">
                  <c:v>2</c:v>
                </c:pt>
                <c:pt idx="79">
                  <c:v>7</c:v>
                </c:pt>
                <c:pt idx="80">
                  <c:v>5</c:v>
                </c:pt>
                <c:pt idx="81">
                  <c:v>4</c:v>
                </c:pt>
                <c:pt idx="82">
                  <c:v>5</c:v>
                </c:pt>
                <c:pt idx="83">
                  <c:v>9</c:v>
                </c:pt>
                <c:pt idx="84">
                  <c:v>10</c:v>
                </c:pt>
                <c:pt idx="85">
                  <c:v>8</c:v>
                </c:pt>
                <c:pt idx="86">
                  <c:v>16</c:v>
                </c:pt>
                <c:pt idx="87">
                  <c:v>12</c:v>
                </c:pt>
                <c:pt idx="88">
                  <c:v>5</c:v>
                </c:pt>
                <c:pt idx="89">
                  <c:v>9</c:v>
                </c:pt>
                <c:pt idx="90">
                  <c:v>18</c:v>
                </c:pt>
                <c:pt idx="91">
                  <c:v>19</c:v>
                </c:pt>
                <c:pt idx="92">
                  <c:v>17</c:v>
                </c:pt>
                <c:pt idx="93">
                  <c:v>14</c:v>
                </c:pt>
                <c:pt idx="94">
                  <c:v>15</c:v>
                </c:pt>
                <c:pt idx="95">
                  <c:v>10</c:v>
                </c:pt>
                <c:pt idx="96">
                  <c:v>10</c:v>
                </c:pt>
                <c:pt idx="97">
                  <c:v>18</c:v>
                </c:pt>
                <c:pt idx="98">
                  <c:v>19</c:v>
                </c:pt>
                <c:pt idx="99">
                  <c:v>24</c:v>
                </c:pt>
                <c:pt idx="100">
                  <c:v>37</c:v>
                </c:pt>
                <c:pt idx="101">
                  <c:v>21</c:v>
                </c:pt>
                <c:pt idx="102">
                  <c:v>14</c:v>
                </c:pt>
                <c:pt idx="103">
                  <c:v>16</c:v>
                </c:pt>
                <c:pt idx="104">
                  <c:v>20</c:v>
                </c:pt>
                <c:pt idx="105">
                  <c:v>28</c:v>
                </c:pt>
                <c:pt idx="106">
                  <c:v>27</c:v>
                </c:pt>
                <c:pt idx="107">
                  <c:v>30</c:v>
                </c:pt>
                <c:pt idx="108">
                  <c:v>25</c:v>
                </c:pt>
                <c:pt idx="109">
                  <c:v>14</c:v>
                </c:pt>
                <c:pt idx="110">
                  <c:v>10</c:v>
                </c:pt>
                <c:pt idx="111">
                  <c:v>40</c:v>
                </c:pt>
                <c:pt idx="112">
                  <c:v>60</c:v>
                </c:pt>
                <c:pt idx="113">
                  <c:v>47</c:v>
                </c:pt>
                <c:pt idx="114">
                  <c:v>47</c:v>
                </c:pt>
                <c:pt idx="115">
                  <c:v>37</c:v>
                </c:pt>
                <c:pt idx="116">
                  <c:v>24</c:v>
                </c:pt>
                <c:pt idx="117">
                  <c:v>31</c:v>
                </c:pt>
                <c:pt idx="118">
                  <c:v>91</c:v>
                </c:pt>
                <c:pt idx="119">
                  <c:v>101</c:v>
                </c:pt>
                <c:pt idx="120">
                  <c:v>89</c:v>
                </c:pt>
                <c:pt idx="121">
                  <c:v>120</c:v>
                </c:pt>
                <c:pt idx="122">
                  <c:v>106</c:v>
                </c:pt>
                <c:pt idx="123">
                  <c:v>77</c:v>
                </c:pt>
                <c:pt idx="124">
                  <c:v>45</c:v>
                </c:pt>
                <c:pt idx="125">
                  <c:v>175</c:v>
                </c:pt>
                <c:pt idx="126">
                  <c:v>175</c:v>
                </c:pt>
                <c:pt idx="127">
                  <c:v>165</c:v>
                </c:pt>
                <c:pt idx="128">
                  <c:v>97</c:v>
                </c:pt>
                <c:pt idx="129">
                  <c:v>202</c:v>
                </c:pt>
                <c:pt idx="130">
                  <c:v>140</c:v>
                </c:pt>
                <c:pt idx="131">
                  <c:v>97</c:v>
                </c:pt>
                <c:pt idx="132">
                  <c:v>304</c:v>
                </c:pt>
                <c:pt idx="133">
                  <c:v>271</c:v>
                </c:pt>
                <c:pt idx="134">
                  <c:v>262</c:v>
                </c:pt>
                <c:pt idx="135">
                  <c:v>244</c:v>
                </c:pt>
                <c:pt idx="136">
                  <c:v>286</c:v>
                </c:pt>
                <c:pt idx="137">
                  <c:v>159</c:v>
                </c:pt>
                <c:pt idx="138">
                  <c:v>86</c:v>
                </c:pt>
                <c:pt idx="139">
                  <c:v>316</c:v>
                </c:pt>
                <c:pt idx="140">
                  <c:v>342</c:v>
                </c:pt>
                <c:pt idx="141">
                  <c:v>358</c:v>
                </c:pt>
                <c:pt idx="142">
                  <c:v>266</c:v>
                </c:pt>
                <c:pt idx="143">
                  <c:v>377</c:v>
                </c:pt>
                <c:pt idx="144">
                  <c:v>244</c:v>
                </c:pt>
                <c:pt idx="145">
                  <c:v>130</c:v>
                </c:pt>
                <c:pt idx="146">
                  <c:v>390</c:v>
                </c:pt>
                <c:pt idx="147">
                  <c:v>493</c:v>
                </c:pt>
                <c:pt idx="148">
                  <c:v>308</c:v>
                </c:pt>
                <c:pt idx="149">
                  <c:v>389</c:v>
                </c:pt>
                <c:pt idx="150">
                  <c:v>576</c:v>
                </c:pt>
                <c:pt idx="151">
                  <c:v>328</c:v>
                </c:pt>
                <c:pt idx="152">
                  <c:v>207</c:v>
                </c:pt>
                <c:pt idx="153">
                  <c:v>460</c:v>
                </c:pt>
                <c:pt idx="154">
                  <c:v>548</c:v>
                </c:pt>
                <c:pt idx="155">
                  <c:v>369</c:v>
                </c:pt>
                <c:pt idx="156">
                  <c:v>545</c:v>
                </c:pt>
                <c:pt idx="157">
                  <c:v>402</c:v>
                </c:pt>
                <c:pt idx="158">
                  <c:v>259</c:v>
                </c:pt>
                <c:pt idx="159">
                  <c:v>203</c:v>
                </c:pt>
                <c:pt idx="160">
                  <c:v>474</c:v>
                </c:pt>
                <c:pt idx="161">
                  <c:v>406</c:v>
                </c:pt>
                <c:pt idx="162">
                  <c:v>400</c:v>
                </c:pt>
                <c:pt idx="163">
                  <c:v>319</c:v>
                </c:pt>
                <c:pt idx="164">
                  <c:v>358</c:v>
                </c:pt>
                <c:pt idx="165">
                  <c:v>213</c:v>
                </c:pt>
                <c:pt idx="166">
                  <c:v>148</c:v>
                </c:pt>
                <c:pt idx="167">
                  <c:v>413</c:v>
                </c:pt>
                <c:pt idx="168">
                  <c:v>363</c:v>
                </c:pt>
                <c:pt idx="169">
                  <c:v>294</c:v>
                </c:pt>
                <c:pt idx="170">
                  <c:v>276</c:v>
                </c:pt>
                <c:pt idx="171">
                  <c:v>245</c:v>
                </c:pt>
                <c:pt idx="172">
                  <c:v>173</c:v>
                </c:pt>
                <c:pt idx="173">
                  <c:v>132</c:v>
                </c:pt>
                <c:pt idx="174">
                  <c:v>255</c:v>
                </c:pt>
                <c:pt idx="175">
                  <c:v>320</c:v>
                </c:pt>
                <c:pt idx="176">
                  <c:v>205</c:v>
                </c:pt>
                <c:pt idx="177">
                  <c:v>152</c:v>
                </c:pt>
                <c:pt idx="178">
                  <c:v>176</c:v>
                </c:pt>
                <c:pt idx="179">
                  <c:v>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22</c:f>
              <c:numCache>
                <c:formatCode>m/d/yyyy</c:formatCode>
                <c:ptCount val="32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</c:numCache>
            </c:numRef>
          </c:cat>
          <c:val>
            <c:numRef>
              <c:f>List1!$B$2:$B$322</c:f>
              <c:numCache>
                <c:formatCode>General</c:formatCode>
                <c:ptCount val="321"/>
                <c:pt idx="0">
                  <c:v>81.162403990813999</c:v>
                </c:pt>
                <c:pt idx="1">
                  <c:v>64.306097021823007</c:v>
                </c:pt>
                <c:pt idx="2">
                  <c:v>55.005500550054997</c:v>
                </c:pt>
                <c:pt idx="3">
                  <c:v>78.189300411521998</c:v>
                </c:pt>
                <c:pt idx="4">
                  <c:v>53.771224122597999</c:v>
                </c:pt>
                <c:pt idx="5">
                  <c:v>35.357737104824999</c:v>
                </c:pt>
                <c:pt idx="6">
                  <c:v>33.476305052828998</c:v>
                </c:pt>
                <c:pt idx="7">
                  <c:v>42.704018448135002</c:v>
                </c:pt>
                <c:pt idx="8">
                  <c:v>50.387766726547</c:v>
                </c:pt>
                <c:pt idx="9">
                  <c:v>69.662921348314001</c:v>
                </c:pt>
                <c:pt idx="10">
                  <c:v>62.523156724712003</c:v>
                </c:pt>
                <c:pt idx="11">
                  <c:v>64.787042591480997</c:v>
                </c:pt>
                <c:pt idx="12">
                  <c:v>28.945654533612998</c:v>
                </c:pt>
                <c:pt idx="13">
                  <c:v>19.388299161456001</c:v>
                </c:pt>
                <c:pt idx="14">
                  <c:v>60.213758843895</c:v>
                </c:pt>
                <c:pt idx="15">
                  <c:v>89.035535653493994</c:v>
                </c:pt>
                <c:pt idx="16">
                  <c:v>35.412694088804002</c:v>
                </c:pt>
                <c:pt idx="17">
                  <c:v>79.913237056908997</c:v>
                </c:pt>
                <c:pt idx="18">
                  <c:v>68.407590268275996</c:v>
                </c:pt>
                <c:pt idx="19">
                  <c:v>39.016777214202001</c:v>
                </c:pt>
                <c:pt idx="20">
                  <c:v>24.162614394877</c:v>
                </c:pt>
                <c:pt idx="21">
                  <c:v>104.14694186707</c:v>
                </c:pt>
                <c:pt idx="22">
                  <c:v>98.141847683852006</c:v>
                </c:pt>
                <c:pt idx="23">
                  <c:v>77.831545463774006</c:v>
                </c:pt>
                <c:pt idx="24">
                  <c:v>115.44112502623599</c:v>
                </c:pt>
                <c:pt idx="25">
                  <c:v>136.95667844013499</c:v>
                </c:pt>
                <c:pt idx="26">
                  <c:v>76.073175149429005</c:v>
                </c:pt>
                <c:pt idx="27">
                  <c:v>58.042516143074003</c:v>
                </c:pt>
                <c:pt idx="28">
                  <c:v>103.992571959145</c:v>
                </c:pt>
                <c:pt idx="29">
                  <c:v>155.15023083327</c:v>
                </c:pt>
                <c:pt idx="30">
                  <c:v>122.689977762441</c:v>
                </c:pt>
                <c:pt idx="31">
                  <c:v>69.995333644422999</c:v>
                </c:pt>
                <c:pt idx="32">
                  <c:v>90.658257784784993</c:v>
                </c:pt>
                <c:pt idx="33">
                  <c:v>31.580609505763</c:v>
                </c:pt>
                <c:pt idx="34">
                  <c:v>31.633056544087999</c:v>
                </c:pt>
                <c:pt idx="35">
                  <c:v>79.843506726814994</c:v>
                </c:pt>
                <c:pt idx="36">
                  <c:v>68.742418115649002</c:v>
                </c:pt>
                <c:pt idx="37">
                  <c:v>77.566850377628001</c:v>
                </c:pt>
                <c:pt idx="38">
                  <c:v>24.711696869851</c:v>
                </c:pt>
                <c:pt idx="39">
                  <c:v>70.812679635105994</c:v>
                </c:pt>
                <c:pt idx="40">
                  <c:v>37.512504168055997</c:v>
                </c:pt>
                <c:pt idx="41">
                  <c:v>16.682654210283999</c:v>
                </c:pt>
                <c:pt idx="42">
                  <c:v>88.146406984552996</c:v>
                </c:pt>
                <c:pt idx="43">
                  <c:v>109.84368398817</c:v>
                </c:pt>
                <c:pt idx="44">
                  <c:v>29.759374202873001</c:v>
                </c:pt>
                <c:pt idx="45">
                  <c:v>42.771599657826997</c:v>
                </c:pt>
                <c:pt idx="46">
                  <c:v>38.912188162047002</c:v>
                </c:pt>
                <c:pt idx="47">
                  <c:v>21.626297577854</c:v>
                </c:pt>
                <c:pt idx="48">
                  <c:v>21.632847315363001</c:v>
                </c:pt>
                <c:pt idx="49">
                  <c:v>30.535683126853002</c:v>
                </c:pt>
                <c:pt idx="50">
                  <c:v>65.879046071412006</c:v>
                </c:pt>
                <c:pt idx="51">
                  <c:v>26.555722758253999</c:v>
                </c:pt>
                <c:pt idx="52">
                  <c:v>35.781375793899002</c:v>
                </c:pt>
                <c:pt idx="53">
                  <c:v>36.241732354805997</c:v>
                </c:pt>
                <c:pt idx="54">
                  <c:v>40.857090975121999</c:v>
                </c:pt>
                <c:pt idx="55">
                  <c:v>4.5553935860049997</c:v>
                </c:pt>
                <c:pt idx="56">
                  <c:v>60.035097441581001</c:v>
                </c:pt>
                <c:pt idx="57">
                  <c:v>51.551223169930999</c:v>
                </c:pt>
                <c:pt idx="58">
                  <c:v>23.790265023551999</c:v>
                </c:pt>
                <c:pt idx="59">
                  <c:v>28.998115122517</c:v>
                </c:pt>
                <c:pt idx="60">
                  <c:v>19.772614928324</c:v>
                </c:pt>
                <c:pt idx="61">
                  <c:v>14.861049190072</c:v>
                </c:pt>
                <c:pt idx="62">
                  <c:v>19.847176739108001</c:v>
                </c:pt>
                <c:pt idx="63">
                  <c:v>25.176233635448</c:v>
                </c:pt>
                <c:pt idx="64">
                  <c:v>46.047582501918001</c:v>
                </c:pt>
                <c:pt idx="65">
                  <c:v>10.441138084051</c:v>
                </c:pt>
                <c:pt idx="66">
                  <c:v>5.3267991264040004</c:v>
                </c:pt>
                <c:pt idx="67">
                  <c:v>10.925379656943001</c:v>
                </c:pt>
                <c:pt idx="68">
                  <c:v>10.970927043334999</c:v>
                </c:pt>
                <c:pt idx="69">
                  <c:v>5.5008526321569997</c:v>
                </c:pt>
                <c:pt idx="70">
                  <c:v>16.774770744799</c:v>
                </c:pt>
                <c:pt idx="71">
                  <c:v>11.397310234783999</c:v>
                </c:pt>
                <c:pt idx="72">
                  <c:v>52.207204594234</c:v>
                </c:pt>
                <c:pt idx="73">
                  <c:v>17.777777777777001</c:v>
                </c:pt>
                <c:pt idx="74">
                  <c:v>17.879492222420001</c:v>
                </c:pt>
                <c:pt idx="75">
                  <c:v>5.9959227725139996</c:v>
                </c:pt>
                <c:pt idx="76">
                  <c:v>12.028628134961</c:v>
                </c:pt>
                <c:pt idx="77">
                  <c:v>36.155468514611997</c:v>
                </c:pt>
                <c:pt idx="78">
                  <c:v>24.559464603671</c:v>
                </c:pt>
                <c:pt idx="79">
                  <c:v>31.141006477329</c:v>
                </c:pt>
                <c:pt idx="80">
                  <c:v>6.3363325307310001</c:v>
                </c:pt>
                <c:pt idx="81">
                  <c:v>19.329896907216</c:v>
                </c:pt>
                <c:pt idx="82">
                  <c:v>6.4842432888079999</c:v>
                </c:pt>
                <c:pt idx="83">
                  <c:v>6.5057575954709996</c:v>
                </c:pt>
                <c:pt idx="84">
                  <c:v>13.154433043935001</c:v>
                </c:pt>
                <c:pt idx="85">
                  <c:v>6.6476101841380002</c:v>
                </c:pt>
                <c:pt idx="86">
                  <c:v>40.382285637366998</c:v>
                </c:pt>
                <c:pt idx="87">
                  <c:v>13.620266957231999</c:v>
                </c:pt>
                <c:pt idx="88">
                  <c:v>20.703933747412002</c:v>
                </c:pt>
                <c:pt idx="89">
                  <c:v>6.9156293222679999</c:v>
                </c:pt>
                <c:pt idx="90">
                  <c:v>0</c:v>
                </c:pt>
                <c:pt idx="91">
                  <c:v>6.9739870283840002</c:v>
                </c:pt>
                <c:pt idx="92">
                  <c:v>7.0288887326909997</c:v>
                </c:pt>
                <c:pt idx="93">
                  <c:v>7.0686364600260001</c:v>
                </c:pt>
                <c:pt idx="94">
                  <c:v>0</c:v>
                </c:pt>
                <c:pt idx="95">
                  <c:v>0</c:v>
                </c:pt>
                <c:pt idx="96">
                  <c:v>7.1839080459769997</c:v>
                </c:pt>
                <c:pt idx="97">
                  <c:v>7.1926922246989999</c:v>
                </c:pt>
                <c:pt idx="98">
                  <c:v>0</c:v>
                </c:pt>
                <c:pt idx="99">
                  <c:v>14.463407578825</c:v>
                </c:pt>
                <c:pt idx="100">
                  <c:v>0</c:v>
                </c:pt>
                <c:pt idx="101">
                  <c:v>14.603870025556001</c:v>
                </c:pt>
                <c:pt idx="102">
                  <c:v>14.684287812040999</c:v>
                </c:pt>
                <c:pt idx="103">
                  <c:v>7.3486184597289999</c:v>
                </c:pt>
                <c:pt idx="104">
                  <c:v>0</c:v>
                </c:pt>
                <c:pt idx="105">
                  <c:v>14.760147601476</c:v>
                </c:pt>
                <c:pt idx="106">
                  <c:v>14.801657785671001</c:v>
                </c:pt>
                <c:pt idx="107">
                  <c:v>22.258495325715</c:v>
                </c:pt>
                <c:pt idx="108">
                  <c:v>7.4388157405340003</c:v>
                </c:pt>
                <c:pt idx="109">
                  <c:v>7.4811101967529998</c:v>
                </c:pt>
                <c:pt idx="110">
                  <c:v>0</c:v>
                </c:pt>
                <c:pt idx="111">
                  <c:v>7.5063804233590004</c:v>
                </c:pt>
                <c:pt idx="112">
                  <c:v>0</c:v>
                </c:pt>
                <c:pt idx="113">
                  <c:v>7.5557234605210004</c:v>
                </c:pt>
                <c:pt idx="114">
                  <c:v>15.16070345664</c:v>
                </c:pt>
                <c:pt idx="115">
                  <c:v>0</c:v>
                </c:pt>
                <c:pt idx="116">
                  <c:v>15.284677111196</c:v>
                </c:pt>
                <c:pt idx="117">
                  <c:v>0</c:v>
                </c:pt>
                <c:pt idx="118">
                  <c:v>7.7071290944120001</c:v>
                </c:pt>
                <c:pt idx="119">
                  <c:v>0</c:v>
                </c:pt>
                <c:pt idx="120">
                  <c:v>15.661707126075999</c:v>
                </c:pt>
                <c:pt idx="121">
                  <c:v>0</c:v>
                </c:pt>
                <c:pt idx="122">
                  <c:v>7.9884965649459998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16.74901599531</c:v>
                </c:pt>
                <c:pt idx="131">
                  <c:v>0</c:v>
                </c:pt>
                <c:pt idx="132">
                  <c:v>0</c:v>
                </c:pt>
                <c:pt idx="133">
                  <c:v>8.5623769158310008</c:v>
                </c:pt>
                <c:pt idx="135">
                  <c:v>0</c:v>
                </c:pt>
                <c:pt idx="136">
                  <c:v>0</c:v>
                </c:pt>
                <c:pt idx="137">
                  <c:v>8.8292424509970004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0</c:v>
                </c:pt>
                <c:pt idx="162">
                  <c:v>10.054293183188999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20.561324149274999</c:v>
                </c:pt>
                <c:pt idx="167">
                  <c:v>0</c:v>
                </c:pt>
                <c:pt idx="168">
                  <c:v>20.571898786257002</c:v>
                </c:pt>
                <c:pt idx="169">
                  <c:v>0</c:v>
                </c:pt>
                <c:pt idx="170">
                  <c:v>10.349824052991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10.497585555322001</c:v>
                </c:pt>
                <c:pt idx="175">
                  <c:v>10.550749103186</c:v>
                </c:pt>
                <c:pt idx="176">
                  <c:v>10.604453870625001</c:v>
                </c:pt>
                <c:pt idx="177">
                  <c:v>0</c:v>
                </c:pt>
                <c:pt idx="178">
                  <c:v>21.433929911048999</c:v>
                </c:pt>
                <c:pt idx="179">
                  <c:v>21.565667457406999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44.004400440044002</c:v>
                </c:pt>
                <c:pt idx="185">
                  <c:v>0</c:v>
                </c:pt>
                <c:pt idx="186">
                  <c:v>22.19263204616</c:v>
                </c:pt>
                <c:pt idx="187">
                  <c:v>0</c:v>
                </c:pt>
                <c:pt idx="188">
                  <c:v>11.119759813188001</c:v>
                </c:pt>
                <c:pt idx="189">
                  <c:v>11.163206072784</c:v>
                </c:pt>
                <c:pt idx="190">
                  <c:v>0</c:v>
                </c:pt>
                <c:pt idx="191">
                  <c:v>22.502250225021999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22.812820805291999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1.59420289855</c:v>
                </c:pt>
                <c:pt idx="201">
                  <c:v>0</c:v>
                </c:pt>
                <c:pt idx="202">
                  <c:v>0</c:v>
                </c:pt>
                <c:pt idx="203">
                  <c:v>11.649580615096999</c:v>
                </c:pt>
                <c:pt idx="204">
                  <c:v>0</c:v>
                </c:pt>
                <c:pt idx="205">
                  <c:v>0</c:v>
                </c:pt>
                <c:pt idx="206">
                  <c:v>11.786892975011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11.970313622216</c:v>
                </c:pt>
                <c:pt idx="213">
                  <c:v>12.009126936471</c:v>
                </c:pt>
                <c:pt idx="214">
                  <c:v>0</c:v>
                </c:pt>
                <c:pt idx="215">
                  <c:v>12.05400192864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2.147716229347999</c:v>
                </c:pt>
                <c:pt idx="223">
                  <c:v>0</c:v>
                </c:pt>
                <c:pt idx="224">
                  <c:v>0</c:v>
                </c:pt>
                <c:pt idx="225">
                  <c:v>12.146240738491</c:v>
                </c:pt>
                <c:pt idx="226">
                  <c:v>0</c:v>
                </c:pt>
                <c:pt idx="227">
                  <c:v>0</c:v>
                </c:pt>
                <c:pt idx="228">
                  <c:v>12.144765606023</c:v>
                </c:pt>
                <c:pt idx="229">
                  <c:v>12.125621438097999</c:v>
                </c:pt>
                <c:pt idx="230">
                  <c:v>0</c:v>
                </c:pt>
                <c:pt idx="231">
                  <c:v>0</c:v>
                </c:pt>
                <c:pt idx="232">
                  <c:v>12.096286440062</c:v>
                </c:pt>
                <c:pt idx="233">
                  <c:v>24.198427102238</c:v>
                </c:pt>
                <c:pt idx="234">
                  <c:v>0</c:v>
                </c:pt>
                <c:pt idx="235">
                  <c:v>12.118274357731</c:v>
                </c:pt>
                <c:pt idx="236">
                  <c:v>0</c:v>
                </c:pt>
                <c:pt idx="237">
                  <c:v>12.077294685989999</c:v>
                </c:pt>
                <c:pt idx="238">
                  <c:v>24.122542515980999</c:v>
                </c:pt>
                <c:pt idx="239">
                  <c:v>12.05400192864</c:v>
                </c:pt>
                <c:pt idx="240">
                  <c:v>12.046741356463</c:v>
                </c:pt>
                <c:pt idx="241">
                  <c:v>12.056908608632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2.102142079148001</c:v>
                </c:pt>
                <c:pt idx="248">
                  <c:v>12.135922330096999</c:v>
                </c:pt>
                <c:pt idx="249">
                  <c:v>12.171372930865999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36.563071297988998</c:v>
                </c:pt>
                <c:pt idx="254">
                  <c:v>12.226433549333001</c:v>
                </c:pt>
                <c:pt idx="255">
                  <c:v>36.724201248622002</c:v>
                </c:pt>
                <c:pt idx="256">
                  <c:v>12.265423770390999</c:v>
                </c:pt>
                <c:pt idx="257">
                  <c:v>0</c:v>
                </c:pt>
                <c:pt idx="258">
                  <c:v>24.524831391784002</c:v>
                </c:pt>
                <c:pt idx="259">
                  <c:v>49.073733284258999</c:v>
                </c:pt>
                <c:pt idx="260">
                  <c:v>61.455260570303999</c:v>
                </c:pt>
                <c:pt idx="261">
                  <c:v>24.612355402412</c:v>
                </c:pt>
                <c:pt idx="262">
                  <c:v>36.986808038466002</c:v>
                </c:pt>
                <c:pt idx="263">
                  <c:v>74.046649389115004</c:v>
                </c:pt>
                <c:pt idx="264">
                  <c:v>86.387757620634005</c:v>
                </c:pt>
                <c:pt idx="265">
                  <c:v>49.358341559723002</c:v>
                </c:pt>
                <c:pt idx="266">
                  <c:v>86.580086580086004</c:v>
                </c:pt>
                <c:pt idx="267">
                  <c:v>37.133308577793997</c:v>
                </c:pt>
                <c:pt idx="268">
                  <c:v>74.312608372553001</c:v>
                </c:pt>
                <c:pt idx="269">
                  <c:v>86.773273831658997</c:v>
                </c:pt>
                <c:pt idx="270">
                  <c:v>99.366538318221004</c:v>
                </c:pt>
                <c:pt idx="271">
                  <c:v>86.988939977631006</c:v>
                </c:pt>
                <c:pt idx="272">
                  <c:v>24.850894632206</c:v>
                </c:pt>
                <c:pt idx="273">
                  <c:v>161.81229773462701</c:v>
                </c:pt>
                <c:pt idx="274">
                  <c:v>149.45821397434301</c:v>
                </c:pt>
                <c:pt idx="275">
                  <c:v>149.71927635682999</c:v>
                </c:pt>
                <c:pt idx="276">
                  <c:v>87.521880470116997</c:v>
                </c:pt>
                <c:pt idx="277">
                  <c:v>163.09120562037299</c:v>
                </c:pt>
                <c:pt idx="278">
                  <c:v>37.678975131876001</c:v>
                </c:pt>
                <c:pt idx="279">
                  <c:v>50.257570046487999</c:v>
                </c:pt>
                <c:pt idx="280">
                  <c:v>176.300214078831</c:v>
                </c:pt>
                <c:pt idx="281">
                  <c:v>75.748011614695002</c:v>
                </c:pt>
                <c:pt idx="282">
                  <c:v>151.99493350221601</c:v>
                </c:pt>
                <c:pt idx="283">
                  <c:v>177.43979721165999</c:v>
                </c:pt>
                <c:pt idx="284">
                  <c:v>126.98412698412599</c:v>
                </c:pt>
                <c:pt idx="285">
                  <c:v>165.24723528664001</c:v>
                </c:pt>
                <c:pt idx="286">
                  <c:v>50.877639277537</c:v>
                </c:pt>
                <c:pt idx="287">
                  <c:v>255.232261357835</c:v>
                </c:pt>
                <c:pt idx="288">
                  <c:v>281.40189306728001</c:v>
                </c:pt>
                <c:pt idx="289">
                  <c:v>192.30769230769201</c:v>
                </c:pt>
                <c:pt idx="290">
                  <c:v>257.20164609053398</c:v>
                </c:pt>
                <c:pt idx="291">
                  <c:v>413.650465356773</c:v>
                </c:pt>
                <c:pt idx="292">
                  <c:v>233.07005049851</c:v>
                </c:pt>
                <c:pt idx="293">
                  <c:v>155.601659751037</c:v>
                </c:pt>
                <c:pt idx="294">
                  <c:v>207.981281684648</c:v>
                </c:pt>
                <c:pt idx="295">
                  <c:v>208.36046360203099</c:v>
                </c:pt>
                <c:pt idx="296">
                  <c:v>143.54691374135399</c:v>
                </c:pt>
                <c:pt idx="297">
                  <c:v>314.46540880503102</c:v>
                </c:pt>
                <c:pt idx="298">
                  <c:v>197.23865877712001</c:v>
                </c:pt>
                <c:pt idx="299">
                  <c:v>65.824117956818995</c:v>
                </c:pt>
                <c:pt idx="300">
                  <c:v>105.387959425635</c:v>
                </c:pt>
                <c:pt idx="301">
                  <c:v>185.11172815020399</c:v>
                </c:pt>
                <c:pt idx="302">
                  <c:v>159.38371629698401</c:v>
                </c:pt>
                <c:pt idx="303">
                  <c:v>159.59569091634501</c:v>
                </c:pt>
                <c:pt idx="304">
                  <c:v>146.80368343787501</c:v>
                </c:pt>
                <c:pt idx="305">
                  <c:v>161.030595813204</c:v>
                </c:pt>
                <c:pt idx="306">
                  <c:v>147.770016120365</c:v>
                </c:pt>
                <c:pt idx="307">
                  <c:v>26.903416733924999</c:v>
                </c:pt>
                <c:pt idx="308">
                  <c:v>135.13513513513499</c:v>
                </c:pt>
                <c:pt idx="309">
                  <c:v>122.083559413998</c:v>
                </c:pt>
                <c:pt idx="310">
                  <c:v>81.855388813095999</c:v>
                </c:pt>
                <c:pt idx="311">
                  <c:v>123.50761630300499</c:v>
                </c:pt>
                <c:pt idx="312">
                  <c:v>151.912719237674</c:v>
                </c:pt>
                <c:pt idx="313">
                  <c:v>69.146729359700998</c:v>
                </c:pt>
                <c:pt idx="314">
                  <c:v>55.370985603542998</c:v>
                </c:pt>
                <c:pt idx="315">
                  <c:v>111.126545353521</c:v>
                </c:pt>
                <c:pt idx="316">
                  <c:v>55.772448410484998</c:v>
                </c:pt>
                <c:pt idx="317">
                  <c:v>111.982082866741</c:v>
                </c:pt>
                <c:pt idx="318">
                  <c:v>70.195142496138999</c:v>
                </c:pt>
                <c:pt idx="319">
                  <c:v>70.521861777149994</c:v>
                </c:pt>
                <c:pt idx="320">
                  <c:v>84.721829991527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5C3-4E3F-BFF5-5996318E7CE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22</c:f>
              <c:numCache>
                <c:formatCode>m/d/yyyy</c:formatCode>
                <c:ptCount val="32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</c:numCache>
            </c:numRef>
          </c:cat>
          <c:val>
            <c:numRef>
              <c:f>List1!$C$2:$C$322</c:f>
              <c:numCache>
                <c:formatCode>General</c:formatCode>
                <c:ptCount val="3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2.310722639418</c:v>
                </c:pt>
                <c:pt idx="11">
                  <c:v>10.385294423095999</c:v>
                </c:pt>
                <c:pt idx="12">
                  <c:v>0</c:v>
                </c:pt>
                <c:pt idx="13">
                  <c:v>0</c:v>
                </c:pt>
                <c:pt idx="14">
                  <c:v>8.743551630672</c:v>
                </c:pt>
                <c:pt idx="15">
                  <c:v>22.890279261406</c:v>
                </c:pt>
                <c:pt idx="16">
                  <c:v>6.8587105624140001</c:v>
                </c:pt>
                <c:pt idx="17">
                  <c:v>12.308449750753001</c:v>
                </c:pt>
                <c:pt idx="18">
                  <c:v>0</c:v>
                </c:pt>
                <c:pt idx="19">
                  <c:v>11.134617525887</c:v>
                </c:pt>
                <c:pt idx="20">
                  <c:v>5.5038802355660001</c:v>
                </c:pt>
                <c:pt idx="21">
                  <c:v>15.314717443463</c:v>
                </c:pt>
                <c:pt idx="22">
                  <c:v>9.6599690880980003</c:v>
                </c:pt>
                <c:pt idx="23">
                  <c:v>13.813426650704001</c:v>
                </c:pt>
                <c:pt idx="24">
                  <c:v>13.227513227513001</c:v>
                </c:pt>
                <c:pt idx="25">
                  <c:v>8.5044861164259995</c:v>
                </c:pt>
                <c:pt idx="26">
                  <c:v>8.4548721200589991</c:v>
                </c:pt>
                <c:pt idx="27">
                  <c:v>12.663036596175001</c:v>
                </c:pt>
                <c:pt idx="28">
                  <c:v>16.441284064285</c:v>
                </c:pt>
                <c:pt idx="29">
                  <c:v>4.0283596519489997</c:v>
                </c:pt>
                <c:pt idx="30">
                  <c:v>11.921319292668001</c:v>
                </c:pt>
                <c:pt idx="31">
                  <c:v>7.8339208773989997</c:v>
                </c:pt>
                <c:pt idx="32">
                  <c:v>3.8647342995159999</c:v>
                </c:pt>
                <c:pt idx="33">
                  <c:v>7.718133755257</c:v>
                </c:pt>
                <c:pt idx="34">
                  <c:v>0</c:v>
                </c:pt>
                <c:pt idx="35">
                  <c:v>11.452567283832</c:v>
                </c:pt>
                <c:pt idx="36">
                  <c:v>15.086938483008</c:v>
                </c:pt>
                <c:pt idx="37">
                  <c:v>7.4774741092449997</c:v>
                </c:pt>
                <c:pt idx="38">
                  <c:v>7.4178473407009999</c:v>
                </c:pt>
                <c:pt idx="39">
                  <c:v>3.6718807373129998</c:v>
                </c:pt>
                <c:pt idx="40">
                  <c:v>3.6698594443829999</c:v>
                </c:pt>
                <c:pt idx="41">
                  <c:v>11.003924733153999</c:v>
                </c:pt>
                <c:pt idx="42">
                  <c:v>7.2952763085900001</c:v>
                </c:pt>
                <c:pt idx="43">
                  <c:v>14.509050019948999</c:v>
                </c:pt>
                <c:pt idx="44">
                  <c:v>10.824072737768001</c:v>
                </c:pt>
                <c:pt idx="45">
                  <c:v>10.769285996338001</c:v>
                </c:pt>
                <c:pt idx="46">
                  <c:v>10.673117973529999</c:v>
                </c:pt>
                <c:pt idx="47">
                  <c:v>3.5566936975379999</c:v>
                </c:pt>
                <c:pt idx="48">
                  <c:v>3.555808413042</c:v>
                </c:pt>
                <c:pt idx="49">
                  <c:v>10.596587898696001</c:v>
                </c:pt>
                <c:pt idx="50">
                  <c:v>7.0261724925340001</c:v>
                </c:pt>
                <c:pt idx="51">
                  <c:v>6.9832402234630004</c:v>
                </c:pt>
                <c:pt idx="52">
                  <c:v>3.463203463203</c:v>
                </c:pt>
                <c:pt idx="53">
                  <c:v>10.28841867005</c:v>
                </c:pt>
                <c:pt idx="54">
                  <c:v>10.272565401999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9.9295005461220001</c:v>
                </c:pt>
                <c:pt idx="59">
                  <c:v>3.2743942370660002</c:v>
                </c:pt>
                <c:pt idx="60">
                  <c:v>0</c:v>
                </c:pt>
                <c:pt idx="61">
                  <c:v>6.4416387528980001</c:v>
                </c:pt>
                <c:pt idx="62">
                  <c:v>0</c:v>
                </c:pt>
                <c:pt idx="63">
                  <c:v>0</c:v>
                </c:pt>
                <c:pt idx="64">
                  <c:v>3.1550717778820001</c:v>
                </c:pt>
                <c:pt idx="65">
                  <c:v>3.1165269423750002</c:v>
                </c:pt>
                <c:pt idx="66">
                  <c:v>15.398355455637001</c:v>
                </c:pt>
                <c:pt idx="67">
                  <c:v>6.0716454159069997</c:v>
                </c:pt>
                <c:pt idx="68">
                  <c:v>0</c:v>
                </c:pt>
                <c:pt idx="69">
                  <c:v>3.023888720895</c:v>
                </c:pt>
                <c:pt idx="70">
                  <c:v>5.9939461144240003</c:v>
                </c:pt>
                <c:pt idx="71">
                  <c:v>2.9669188547690002</c:v>
                </c:pt>
                <c:pt idx="72">
                  <c:v>0</c:v>
                </c:pt>
                <c:pt idx="73">
                  <c:v>0</c:v>
                </c:pt>
                <c:pt idx="74">
                  <c:v>2.900316134458</c:v>
                </c:pt>
                <c:pt idx="75">
                  <c:v>5.7833555028620003</c:v>
                </c:pt>
                <c:pt idx="76">
                  <c:v>5.7745055579609996</c:v>
                </c:pt>
                <c:pt idx="77">
                  <c:v>5.7688424817559998</c:v>
                </c:pt>
                <c:pt idx="78">
                  <c:v>0</c:v>
                </c:pt>
                <c:pt idx="79">
                  <c:v>11.360086336656</c:v>
                </c:pt>
                <c:pt idx="80">
                  <c:v>2.8179333276969998</c:v>
                </c:pt>
                <c:pt idx="81">
                  <c:v>8.3913736678690007</c:v>
                </c:pt>
                <c:pt idx="82">
                  <c:v>0</c:v>
                </c:pt>
                <c:pt idx="83">
                  <c:v>0</c:v>
                </c:pt>
                <c:pt idx="84">
                  <c:v>2.7722333111549999</c:v>
                </c:pt>
                <c:pt idx="85">
                  <c:v>5.5195253208219999</c:v>
                </c:pt>
                <c:pt idx="86">
                  <c:v>2.7455933227170002</c:v>
                </c:pt>
                <c:pt idx="87">
                  <c:v>13.661948740368</c:v>
                </c:pt>
                <c:pt idx="88">
                  <c:v>2.717834429526</c:v>
                </c:pt>
                <c:pt idx="89">
                  <c:v>0</c:v>
                </c:pt>
                <c:pt idx="90">
                  <c:v>8.1402290117760003</c:v>
                </c:pt>
                <c:pt idx="91">
                  <c:v>2.7069460234960001</c:v>
                </c:pt>
                <c:pt idx="92">
                  <c:v>5.397673602677</c:v>
                </c:pt>
                <c:pt idx="93">
                  <c:v>10.772669736877001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5.3481655792060003</c:v>
                </c:pt>
                <c:pt idx="99">
                  <c:v>0</c:v>
                </c:pt>
                <c:pt idx="100">
                  <c:v>0</c:v>
                </c:pt>
                <c:pt idx="101">
                  <c:v>7.9848819568279996</c:v>
                </c:pt>
                <c:pt idx="102">
                  <c:v>0</c:v>
                </c:pt>
                <c:pt idx="103">
                  <c:v>2.6556898154290001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2.646973186161</c:v>
                </c:pt>
                <c:pt idx="108">
                  <c:v>0</c:v>
                </c:pt>
                <c:pt idx="109">
                  <c:v>0</c:v>
                </c:pt>
                <c:pt idx="110">
                  <c:v>2.6390098435059999</c:v>
                </c:pt>
                <c:pt idx="111">
                  <c:v>0</c:v>
                </c:pt>
                <c:pt idx="112">
                  <c:v>2.6334500829529999</c:v>
                </c:pt>
                <c:pt idx="113">
                  <c:v>0</c:v>
                </c:pt>
                <c:pt idx="114">
                  <c:v>0</c:v>
                </c:pt>
                <c:pt idx="115">
                  <c:v>5.2497571987290002</c:v>
                </c:pt>
                <c:pt idx="116">
                  <c:v>5.2412274954790004</c:v>
                </c:pt>
                <c:pt idx="117">
                  <c:v>0</c:v>
                </c:pt>
                <c:pt idx="118">
                  <c:v>0</c:v>
                </c:pt>
                <c:pt idx="119">
                  <c:v>2.609330967539</c:v>
                </c:pt>
                <c:pt idx="120">
                  <c:v>0</c:v>
                </c:pt>
                <c:pt idx="121">
                  <c:v>0</c:v>
                </c:pt>
                <c:pt idx="122">
                  <c:v>2.582911457794999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2.5351112913849998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2.4602666929089998</c:v>
                </c:pt>
                <c:pt idx="151">
                  <c:v>0</c:v>
                </c:pt>
                <c:pt idx="153">
                  <c:v>2.4515211688849998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4.8628671464690001</c:v>
                </c:pt>
                <c:pt idx="159">
                  <c:v>0</c:v>
                </c:pt>
                <c:pt idx="161">
                  <c:v>4.8531909730639997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7.2313551559559999</c:v>
                </c:pt>
                <c:pt idx="166">
                  <c:v>0</c:v>
                </c:pt>
                <c:pt idx="167">
                  <c:v>2.4089419926760001</c:v>
                </c:pt>
                <c:pt idx="168">
                  <c:v>0</c:v>
                </c:pt>
                <c:pt idx="169">
                  <c:v>4.8164916674690001</c:v>
                </c:pt>
                <c:pt idx="170">
                  <c:v>2.4048867298349998</c:v>
                </c:pt>
                <c:pt idx="171">
                  <c:v>9.6091479088089997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4.7868648428710001</c:v>
                </c:pt>
                <c:pt idx="176">
                  <c:v>0</c:v>
                </c:pt>
                <c:pt idx="177">
                  <c:v>2.387318563789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7.1091732031559998</c:v>
                </c:pt>
                <c:pt idx="185">
                  <c:v>2.3669199270979999</c:v>
                </c:pt>
                <c:pt idx="186">
                  <c:v>0</c:v>
                </c:pt>
                <c:pt idx="187">
                  <c:v>0</c:v>
                </c:pt>
                <c:pt idx="188">
                  <c:v>4.7267914539609999</c:v>
                </c:pt>
                <c:pt idx="189">
                  <c:v>2.3612193336630001</c:v>
                </c:pt>
                <c:pt idx="190">
                  <c:v>0</c:v>
                </c:pt>
                <c:pt idx="191">
                  <c:v>4.7138682002449999</c:v>
                </c:pt>
                <c:pt idx="192">
                  <c:v>2.3551023291959998</c:v>
                </c:pt>
                <c:pt idx="193">
                  <c:v>2.352443012068</c:v>
                </c:pt>
                <c:pt idx="194">
                  <c:v>0</c:v>
                </c:pt>
                <c:pt idx="195">
                  <c:v>0</c:v>
                </c:pt>
                <c:pt idx="196">
                  <c:v>2.3491272992079999</c:v>
                </c:pt>
                <c:pt idx="197">
                  <c:v>0</c:v>
                </c:pt>
                <c:pt idx="198">
                  <c:v>0</c:v>
                </c:pt>
                <c:pt idx="199">
                  <c:v>4.6861454110920002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2.3375955492179998</c:v>
                </c:pt>
                <c:pt idx="204">
                  <c:v>0</c:v>
                </c:pt>
                <c:pt idx="205">
                  <c:v>2.3332866675989998</c:v>
                </c:pt>
                <c:pt idx="206">
                  <c:v>0</c:v>
                </c:pt>
                <c:pt idx="207">
                  <c:v>2.329319140015</c:v>
                </c:pt>
                <c:pt idx="208">
                  <c:v>2.3283429183450002</c:v>
                </c:pt>
                <c:pt idx="209">
                  <c:v>0</c:v>
                </c:pt>
                <c:pt idx="210">
                  <c:v>0</c:v>
                </c:pt>
                <c:pt idx="211">
                  <c:v>9.2971364819629994</c:v>
                </c:pt>
                <c:pt idx="212">
                  <c:v>6.9675081868220001</c:v>
                </c:pt>
                <c:pt idx="213">
                  <c:v>0</c:v>
                </c:pt>
                <c:pt idx="214">
                  <c:v>2.3171212086100001</c:v>
                </c:pt>
                <c:pt idx="215">
                  <c:v>4.6334908720219996</c:v>
                </c:pt>
                <c:pt idx="216">
                  <c:v>2.3162624788640001</c:v>
                </c:pt>
                <c:pt idx="217">
                  <c:v>0</c:v>
                </c:pt>
                <c:pt idx="218">
                  <c:v>4.6264168401569998</c:v>
                </c:pt>
                <c:pt idx="219">
                  <c:v>0</c:v>
                </c:pt>
                <c:pt idx="220">
                  <c:v>0</c:v>
                </c:pt>
                <c:pt idx="221">
                  <c:v>6.923289947382</c:v>
                </c:pt>
                <c:pt idx="222">
                  <c:v>4.6144617230399998</c:v>
                </c:pt>
                <c:pt idx="223">
                  <c:v>0</c:v>
                </c:pt>
                <c:pt idx="224">
                  <c:v>9.2223272542819998</c:v>
                </c:pt>
                <c:pt idx="225">
                  <c:v>2.3046784973490002</c:v>
                </c:pt>
                <c:pt idx="226">
                  <c:v>0</c:v>
                </c:pt>
                <c:pt idx="227">
                  <c:v>2.3029800561920002</c:v>
                </c:pt>
                <c:pt idx="228">
                  <c:v>2.302184773349</c:v>
                </c:pt>
                <c:pt idx="229">
                  <c:v>0</c:v>
                </c:pt>
                <c:pt idx="230">
                  <c:v>2.3018138292970001</c:v>
                </c:pt>
                <c:pt idx="231">
                  <c:v>0</c:v>
                </c:pt>
                <c:pt idx="232">
                  <c:v>4.6008741660909998</c:v>
                </c:pt>
                <c:pt idx="233">
                  <c:v>2.2994849153780001</c:v>
                </c:pt>
                <c:pt idx="234">
                  <c:v>4.5960106627439998</c:v>
                </c:pt>
                <c:pt idx="235">
                  <c:v>4.5942158822039998</c:v>
                </c:pt>
                <c:pt idx="236">
                  <c:v>0</c:v>
                </c:pt>
                <c:pt idx="237">
                  <c:v>2.2968441361559999</c:v>
                </c:pt>
                <c:pt idx="238">
                  <c:v>9.1863215671860008</c:v>
                </c:pt>
                <c:pt idx="239">
                  <c:v>6.8878429571800002</c:v>
                </c:pt>
                <c:pt idx="240">
                  <c:v>4.5907358949630002</c:v>
                </c:pt>
                <c:pt idx="241">
                  <c:v>18.353254261396</c:v>
                </c:pt>
                <c:pt idx="242">
                  <c:v>4.5861041045629998</c:v>
                </c:pt>
                <c:pt idx="243">
                  <c:v>11.464734476748999</c:v>
                </c:pt>
                <c:pt idx="244">
                  <c:v>2.2928943204999999</c:v>
                </c:pt>
                <c:pt idx="245">
                  <c:v>0</c:v>
                </c:pt>
                <c:pt idx="246">
                  <c:v>4.5831614647779997</c:v>
                </c:pt>
                <c:pt idx="247">
                  <c:v>9.1650627806799996</c:v>
                </c:pt>
                <c:pt idx="248">
                  <c:v>11.449769859625</c:v>
                </c:pt>
                <c:pt idx="249">
                  <c:v>11.443218748569</c:v>
                </c:pt>
                <c:pt idx="250">
                  <c:v>2.2885389967040002</c:v>
                </c:pt>
                <c:pt idx="251">
                  <c:v>2.288381885168</c:v>
                </c:pt>
                <c:pt idx="252">
                  <c:v>6.8634179821550001</c:v>
                </c:pt>
                <c:pt idx="253">
                  <c:v>16.014641958361</c:v>
                </c:pt>
                <c:pt idx="254">
                  <c:v>13.718362027573001</c:v>
                </c:pt>
                <c:pt idx="255">
                  <c:v>9.1430661272249996</c:v>
                </c:pt>
                <c:pt idx="256">
                  <c:v>11.424393364712</c:v>
                </c:pt>
                <c:pt idx="257">
                  <c:v>11.424393364712</c:v>
                </c:pt>
                <c:pt idx="258">
                  <c:v>13.709272037653999</c:v>
                </c:pt>
                <c:pt idx="259">
                  <c:v>29.699351183404001</c:v>
                </c:pt>
                <c:pt idx="260">
                  <c:v>27.404768429705999</c:v>
                </c:pt>
                <c:pt idx="261">
                  <c:v>25.114728646772001</c:v>
                </c:pt>
                <c:pt idx="262">
                  <c:v>22.822713164140001</c:v>
                </c:pt>
                <c:pt idx="263">
                  <c:v>25.099828864803001</c:v>
                </c:pt>
                <c:pt idx="264">
                  <c:v>18.254004472230999</c:v>
                </c:pt>
                <c:pt idx="265">
                  <c:v>18.254004472230999</c:v>
                </c:pt>
                <c:pt idx="266">
                  <c:v>50.174470317238999</c:v>
                </c:pt>
                <c:pt idx="267">
                  <c:v>38.764992931088997</c:v>
                </c:pt>
                <c:pt idx="268">
                  <c:v>38.75968992248</c:v>
                </c:pt>
                <c:pt idx="269">
                  <c:v>34.192710114203003</c:v>
                </c:pt>
                <c:pt idx="270">
                  <c:v>68.358929954882996</c:v>
                </c:pt>
                <c:pt idx="271">
                  <c:v>34.175571301632999</c:v>
                </c:pt>
                <c:pt idx="272">
                  <c:v>36.453112184452003</c:v>
                </c:pt>
                <c:pt idx="273">
                  <c:v>100.218658892128</c:v>
                </c:pt>
                <c:pt idx="274">
                  <c:v>61.493611497026997</c:v>
                </c:pt>
                <c:pt idx="275">
                  <c:v>61.476809581273997</c:v>
                </c:pt>
                <c:pt idx="276">
                  <c:v>45.522829699093997</c:v>
                </c:pt>
                <c:pt idx="277">
                  <c:v>63.695716463067001</c:v>
                </c:pt>
                <c:pt idx="278">
                  <c:v>40.940726925351001</c:v>
                </c:pt>
                <c:pt idx="279">
                  <c:v>34.116496463255999</c:v>
                </c:pt>
                <c:pt idx="280">
                  <c:v>88.670622740604003</c:v>
                </c:pt>
                <c:pt idx="281">
                  <c:v>90.907024840343993</c:v>
                </c:pt>
                <c:pt idx="282">
                  <c:v>81.771720613287002</c:v>
                </c:pt>
                <c:pt idx="283">
                  <c:v>81.766148814389993</c:v>
                </c:pt>
                <c:pt idx="284">
                  <c:v>79.471401648463001</c:v>
                </c:pt>
                <c:pt idx="285">
                  <c:v>84.001180557132002</c:v>
                </c:pt>
                <c:pt idx="286">
                  <c:v>43.132803632235998</c:v>
                </c:pt>
                <c:pt idx="287">
                  <c:v>99.832100558152007</c:v>
                </c:pt>
                <c:pt idx="288">
                  <c:v>90.723520072577998</c:v>
                </c:pt>
                <c:pt idx="289">
                  <c:v>65.750691515892996</c:v>
                </c:pt>
                <c:pt idx="290">
                  <c:v>81.580855692529994</c:v>
                </c:pt>
                <c:pt idx="291">
                  <c:v>117.73762622832</c:v>
                </c:pt>
                <c:pt idx="292">
                  <c:v>70.172261584081994</c:v>
                </c:pt>
                <c:pt idx="293">
                  <c:v>43.000045263205003</c:v>
                </c:pt>
                <c:pt idx="294">
                  <c:v>106.327624821844</c:v>
                </c:pt>
                <c:pt idx="295">
                  <c:v>128.915526405066</c:v>
                </c:pt>
                <c:pt idx="296">
                  <c:v>74.611680119377993</c:v>
                </c:pt>
                <c:pt idx="297">
                  <c:v>101.67653305617</c:v>
                </c:pt>
                <c:pt idx="298">
                  <c:v>94.844522728811995</c:v>
                </c:pt>
                <c:pt idx="299">
                  <c:v>63.219688417249003</c:v>
                </c:pt>
                <c:pt idx="300">
                  <c:v>76.761565032849006</c:v>
                </c:pt>
                <c:pt idx="301">
                  <c:v>112.818430018727</c:v>
                </c:pt>
                <c:pt idx="302">
                  <c:v>90.189623683795006</c:v>
                </c:pt>
                <c:pt idx="303">
                  <c:v>96.940730888022003</c:v>
                </c:pt>
                <c:pt idx="304">
                  <c:v>72.104551599819004</c:v>
                </c:pt>
                <c:pt idx="305">
                  <c:v>90.053581881219003</c:v>
                </c:pt>
                <c:pt idx="306">
                  <c:v>36.017378385070003</c:v>
                </c:pt>
                <c:pt idx="307">
                  <c:v>33.760972316001997</c:v>
                </c:pt>
                <c:pt idx="308">
                  <c:v>83.219000922155999</c:v>
                </c:pt>
                <c:pt idx="309">
                  <c:v>78.676437530908004</c:v>
                </c:pt>
                <c:pt idx="310">
                  <c:v>56.146970309482001</c:v>
                </c:pt>
                <c:pt idx="311">
                  <c:v>53.852712830408002</c:v>
                </c:pt>
                <c:pt idx="312">
                  <c:v>51.559102423276997</c:v>
                </c:pt>
                <c:pt idx="313">
                  <c:v>35.861574323112002</c:v>
                </c:pt>
                <c:pt idx="314">
                  <c:v>20.170327207530001</c:v>
                </c:pt>
                <c:pt idx="315">
                  <c:v>49.280946194165999</c:v>
                </c:pt>
                <c:pt idx="316">
                  <c:v>44.776787713249</c:v>
                </c:pt>
                <c:pt idx="317">
                  <c:v>38.038978765298999</c:v>
                </c:pt>
                <c:pt idx="318">
                  <c:v>22.366360993065999</c:v>
                </c:pt>
                <c:pt idx="319">
                  <c:v>42.467590523021002</c:v>
                </c:pt>
                <c:pt idx="320">
                  <c:v>26.818638954072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5C3-4E3F-BFF5-5996318E7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22</c:f>
              <c:numCache>
                <c:formatCode>m/d/yyyy</c:formatCode>
                <c:ptCount val="32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</c:numCache>
            </c:numRef>
          </c:cat>
          <c:val>
            <c:numRef>
              <c:f>List1!$B$2:$B$322</c:f>
              <c:numCache>
                <c:formatCode>General</c:formatCode>
                <c:ptCount val="321"/>
                <c:pt idx="0">
                  <c:v>125.256874449554</c:v>
                </c:pt>
                <c:pt idx="1">
                  <c:v>111.432149654363</c:v>
                </c:pt>
                <c:pt idx="2">
                  <c:v>135.190210638276</c:v>
                </c:pt>
                <c:pt idx="3">
                  <c:v>109.976904849981</c:v>
                </c:pt>
                <c:pt idx="4">
                  <c:v>110.36752385443501</c:v>
                </c:pt>
                <c:pt idx="5">
                  <c:v>54.358767867928002</c:v>
                </c:pt>
                <c:pt idx="6">
                  <c:v>30.285898885478002</c:v>
                </c:pt>
                <c:pt idx="7">
                  <c:v>131.65280400061201</c:v>
                </c:pt>
                <c:pt idx="8">
                  <c:v>121.154383821229</c:v>
                </c:pt>
                <c:pt idx="9">
                  <c:v>108.39709116932001</c:v>
                </c:pt>
                <c:pt idx="10">
                  <c:v>116.064136181919</c:v>
                </c:pt>
                <c:pt idx="11">
                  <c:v>112.644947542794</c:v>
                </c:pt>
                <c:pt idx="12">
                  <c:v>55.349532296451997</c:v>
                </c:pt>
                <c:pt idx="13">
                  <c:v>29.956396800213</c:v>
                </c:pt>
                <c:pt idx="14">
                  <c:v>141.01164483260499</c:v>
                </c:pt>
                <c:pt idx="15">
                  <c:v>138.29799702307699</c:v>
                </c:pt>
                <c:pt idx="16">
                  <c:v>137.346088046071</c:v>
                </c:pt>
                <c:pt idx="17">
                  <c:v>133.230401434405</c:v>
                </c:pt>
                <c:pt idx="18">
                  <c:v>157.49241347520399</c:v>
                </c:pt>
                <c:pt idx="19">
                  <c:v>73.261956479827006</c:v>
                </c:pt>
                <c:pt idx="20">
                  <c:v>42.551545394762002</c:v>
                </c:pt>
                <c:pt idx="21">
                  <c:v>162.43198985790499</c:v>
                </c:pt>
                <c:pt idx="22">
                  <c:v>204.987120874971</c:v>
                </c:pt>
                <c:pt idx="23">
                  <c:v>170.622635018919</c:v>
                </c:pt>
                <c:pt idx="24">
                  <c:v>175.39182533780399</c:v>
                </c:pt>
                <c:pt idx="25">
                  <c:v>195.778612972833</c:v>
                </c:pt>
                <c:pt idx="26">
                  <c:v>103.113453441411</c:v>
                </c:pt>
                <c:pt idx="27">
                  <c:v>50.159794774782</c:v>
                </c:pt>
                <c:pt idx="28">
                  <c:v>168.24029355030501</c:v>
                </c:pt>
                <c:pt idx="29">
                  <c:v>200.585651537335</c:v>
                </c:pt>
                <c:pt idx="30">
                  <c:v>163.95379752444501</c:v>
                </c:pt>
                <c:pt idx="31">
                  <c:v>164.13990688790699</c:v>
                </c:pt>
                <c:pt idx="32">
                  <c:v>164.02323411683199</c:v>
                </c:pt>
                <c:pt idx="33">
                  <c:v>91.827364554637001</c:v>
                </c:pt>
                <c:pt idx="34">
                  <c:v>55.723730779077002</c:v>
                </c:pt>
                <c:pt idx="35">
                  <c:v>157.561433809047</c:v>
                </c:pt>
                <c:pt idx="36">
                  <c:v>169.37255859375</c:v>
                </c:pt>
                <c:pt idx="37">
                  <c:v>185.64546319310099</c:v>
                </c:pt>
                <c:pt idx="38">
                  <c:v>131.11820691995601</c:v>
                </c:pt>
                <c:pt idx="39">
                  <c:v>161.58853964357201</c:v>
                </c:pt>
                <c:pt idx="40">
                  <c:v>74.587438232276995</c:v>
                </c:pt>
                <c:pt idx="41">
                  <c:v>45.063243932001001</c:v>
                </c:pt>
                <c:pt idx="42">
                  <c:v>154.31136604526401</c:v>
                </c:pt>
                <c:pt idx="43">
                  <c:v>142.38996072540601</c:v>
                </c:pt>
                <c:pt idx="44">
                  <c:v>143.06151645207399</c:v>
                </c:pt>
                <c:pt idx="45">
                  <c:v>127.905507832238</c:v>
                </c:pt>
                <c:pt idx="46">
                  <c:v>120.767189461473</c:v>
                </c:pt>
                <c:pt idx="47">
                  <c:v>44.496710421765002</c:v>
                </c:pt>
                <c:pt idx="48">
                  <c:v>34.965034965034</c:v>
                </c:pt>
                <c:pt idx="49">
                  <c:v>146.99068526418301</c:v>
                </c:pt>
                <c:pt idx="50">
                  <c:v>101.154445175896</c:v>
                </c:pt>
                <c:pt idx="51">
                  <c:v>104.984333107213</c:v>
                </c:pt>
                <c:pt idx="52">
                  <c:v>74.969849082433996</c:v>
                </c:pt>
                <c:pt idx="53">
                  <c:v>87.264345105787001</c:v>
                </c:pt>
                <c:pt idx="54">
                  <c:v>44.500848812485998</c:v>
                </c:pt>
                <c:pt idx="55">
                  <c:v>23.098879704333999</c:v>
                </c:pt>
                <c:pt idx="56">
                  <c:v>86.495118015935006</c:v>
                </c:pt>
                <c:pt idx="57">
                  <c:v>88.854613733904998</c:v>
                </c:pt>
                <c:pt idx="58">
                  <c:v>59.235690349659002</c:v>
                </c:pt>
                <c:pt idx="59">
                  <c:v>83.858159912375996</c:v>
                </c:pt>
                <c:pt idx="60">
                  <c:v>43.394490635468003</c:v>
                </c:pt>
                <c:pt idx="61">
                  <c:v>36.481134042108998</c:v>
                </c:pt>
                <c:pt idx="62">
                  <c:v>39.968025579535997</c:v>
                </c:pt>
                <c:pt idx="63">
                  <c:v>38.610038610038004</c:v>
                </c:pt>
                <c:pt idx="64">
                  <c:v>113.40681149661501</c:v>
                </c:pt>
                <c:pt idx="65">
                  <c:v>85.933723615660995</c:v>
                </c:pt>
                <c:pt idx="66">
                  <c:v>61.650045330914999</c:v>
                </c:pt>
                <c:pt idx="67">
                  <c:v>47.882136279926002</c:v>
                </c:pt>
                <c:pt idx="68">
                  <c:v>22.146350465996001</c:v>
                </c:pt>
                <c:pt idx="69">
                  <c:v>14.775140825559999</c:v>
                </c:pt>
                <c:pt idx="70">
                  <c:v>35.503400852081</c:v>
                </c:pt>
                <c:pt idx="71">
                  <c:v>49.206078843278</c:v>
                </c:pt>
                <c:pt idx="72">
                  <c:v>44.132320208765002</c:v>
                </c:pt>
                <c:pt idx="73">
                  <c:v>37.101403995235003</c:v>
                </c:pt>
                <c:pt idx="74">
                  <c:v>45.175102626048002</c:v>
                </c:pt>
                <c:pt idx="75">
                  <c:v>11.820796721699001</c:v>
                </c:pt>
                <c:pt idx="76">
                  <c:v>9.8757629026840004</c:v>
                </c:pt>
                <c:pt idx="77">
                  <c:v>51.457636511171998</c:v>
                </c:pt>
                <c:pt idx="78">
                  <c:v>46.370967741934997</c:v>
                </c:pt>
                <c:pt idx="79">
                  <c:v>34.761982659905001</c:v>
                </c:pt>
                <c:pt idx="80">
                  <c:v>24.920048178759</c:v>
                </c:pt>
                <c:pt idx="81">
                  <c:v>19.011808445467</c:v>
                </c:pt>
                <c:pt idx="82">
                  <c:v>16.990188166332999</c:v>
                </c:pt>
                <c:pt idx="83">
                  <c:v>6.3881436054679996</c:v>
                </c:pt>
                <c:pt idx="84">
                  <c:v>21.515555746804001</c:v>
                </c:pt>
                <c:pt idx="85">
                  <c:v>21.774158428776001</c:v>
                </c:pt>
                <c:pt idx="86">
                  <c:v>13.223431921364</c:v>
                </c:pt>
                <c:pt idx="87">
                  <c:v>31.192905841984999</c:v>
                </c:pt>
                <c:pt idx="88">
                  <c:v>27.103943623797001</c:v>
                </c:pt>
                <c:pt idx="89">
                  <c:v>6.7905565992890002</c:v>
                </c:pt>
                <c:pt idx="90">
                  <c:v>6.8065796937030001</c:v>
                </c:pt>
                <c:pt idx="91">
                  <c:v>36.590664806641001</c:v>
                </c:pt>
                <c:pt idx="92">
                  <c:v>18.416206261509998</c:v>
                </c:pt>
                <c:pt idx="93">
                  <c:v>16.204829039052999</c:v>
                </c:pt>
                <c:pt idx="94">
                  <c:v>11.653381811400999</c:v>
                </c:pt>
                <c:pt idx="95">
                  <c:v>35.149384885764</c:v>
                </c:pt>
                <c:pt idx="96">
                  <c:v>11.731581417175001</c:v>
                </c:pt>
                <c:pt idx="97">
                  <c:v>7.0520204038449998</c:v>
                </c:pt>
                <c:pt idx="98">
                  <c:v>23.591025973718999</c:v>
                </c:pt>
                <c:pt idx="99">
                  <c:v>42.630793643273996</c:v>
                </c:pt>
                <c:pt idx="100">
                  <c:v>9.5201827875090004</c:v>
                </c:pt>
                <c:pt idx="101">
                  <c:v>16.738002438965999</c:v>
                </c:pt>
                <c:pt idx="102">
                  <c:v>14.415107032169001</c:v>
                </c:pt>
                <c:pt idx="103">
                  <c:v>0</c:v>
                </c:pt>
                <c:pt idx="104">
                  <c:v>2.4056966897610002</c:v>
                </c:pt>
                <c:pt idx="105">
                  <c:v>9.6438990283769996</c:v>
                </c:pt>
                <c:pt idx="106">
                  <c:v>4.8310345660519998</c:v>
                </c:pt>
                <c:pt idx="107">
                  <c:v>4.84660495323</c:v>
                </c:pt>
                <c:pt idx="108">
                  <c:v>9.7309395222100008</c:v>
                </c:pt>
                <c:pt idx="109">
                  <c:v>4.8848398993720004</c:v>
                </c:pt>
                <c:pt idx="110">
                  <c:v>7.3299452697409997</c:v>
                </c:pt>
                <c:pt idx="111">
                  <c:v>0</c:v>
                </c:pt>
                <c:pt idx="112">
                  <c:v>4.9002793159209999</c:v>
                </c:pt>
                <c:pt idx="113">
                  <c:v>12.275059534038</c:v>
                </c:pt>
                <c:pt idx="114">
                  <c:v>14.786701826157</c:v>
                </c:pt>
                <c:pt idx="115">
                  <c:v>7.4180307600999997</c:v>
                </c:pt>
                <c:pt idx="116">
                  <c:v>4.964873519847</c:v>
                </c:pt>
                <c:pt idx="117">
                  <c:v>0</c:v>
                </c:pt>
                <c:pt idx="118">
                  <c:v>0</c:v>
                </c:pt>
                <c:pt idx="119">
                  <c:v>7.5054414450470004</c:v>
                </c:pt>
                <c:pt idx="120">
                  <c:v>2.51857448684</c:v>
                </c:pt>
                <c:pt idx="121">
                  <c:v>0</c:v>
                </c:pt>
                <c:pt idx="122">
                  <c:v>10.23751023751</c:v>
                </c:pt>
                <c:pt idx="123">
                  <c:v>2.5833785424569999</c:v>
                </c:pt>
                <c:pt idx="124">
                  <c:v>0</c:v>
                </c:pt>
                <c:pt idx="125">
                  <c:v>2.5898684346829999</c:v>
                </c:pt>
                <c:pt idx="126">
                  <c:v>2.6083781104899999</c:v>
                </c:pt>
                <c:pt idx="127">
                  <c:v>0</c:v>
                </c:pt>
                <c:pt idx="128">
                  <c:v>2.6453626792230001</c:v>
                </c:pt>
                <c:pt idx="129">
                  <c:v>2.6716537536730001</c:v>
                </c:pt>
                <c:pt idx="131">
                  <c:v>2.7102474455909999</c:v>
                </c:pt>
                <c:pt idx="132">
                  <c:v>2.7167268874460002</c:v>
                </c:pt>
                <c:pt idx="133">
                  <c:v>2.733659550039</c:v>
                </c:pt>
                <c:pt idx="135">
                  <c:v>0</c:v>
                </c:pt>
                <c:pt idx="136">
                  <c:v>5.587216448765</c:v>
                </c:pt>
                <c:pt idx="137">
                  <c:v>8.4590441280129998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5.7655164461349999</c:v>
                </c:pt>
                <c:pt idx="143">
                  <c:v>2.9028418822019999</c:v>
                </c:pt>
                <c:pt idx="145">
                  <c:v>0</c:v>
                </c:pt>
                <c:pt idx="146">
                  <c:v>2.9396202010699999</c:v>
                </c:pt>
                <c:pt idx="147">
                  <c:v>0</c:v>
                </c:pt>
                <c:pt idx="148">
                  <c:v>5.9476016296419996</c:v>
                </c:pt>
                <c:pt idx="150">
                  <c:v>3.0130464913070001</c:v>
                </c:pt>
                <c:pt idx="151">
                  <c:v>3.0345329853730001</c:v>
                </c:pt>
                <c:pt idx="153">
                  <c:v>3.0467369447319999</c:v>
                </c:pt>
                <c:pt idx="154">
                  <c:v>6.1248239113120002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3.1450496917850002</c:v>
                </c:pt>
                <c:pt idx="159">
                  <c:v>3.1495071021380001</c:v>
                </c:pt>
                <c:pt idx="161">
                  <c:v>3.172689488879</c:v>
                </c:pt>
                <c:pt idx="162">
                  <c:v>6.3887557898090002</c:v>
                </c:pt>
                <c:pt idx="163">
                  <c:v>3.2188495831580002</c:v>
                </c:pt>
                <c:pt idx="164">
                  <c:v>9.7310973434099992</c:v>
                </c:pt>
                <c:pt idx="165">
                  <c:v>0</c:v>
                </c:pt>
                <c:pt idx="166">
                  <c:v>0</c:v>
                </c:pt>
                <c:pt idx="167">
                  <c:v>6.547716483876</c:v>
                </c:pt>
                <c:pt idx="168">
                  <c:v>6.5539389172889999</c:v>
                </c:pt>
                <c:pt idx="169">
                  <c:v>3.2809475376480002</c:v>
                </c:pt>
                <c:pt idx="170">
                  <c:v>9.9049128367670001</c:v>
                </c:pt>
                <c:pt idx="171">
                  <c:v>0</c:v>
                </c:pt>
                <c:pt idx="172">
                  <c:v>6.6760130849849997</c:v>
                </c:pt>
                <c:pt idx="173">
                  <c:v>0</c:v>
                </c:pt>
                <c:pt idx="174">
                  <c:v>3.3492983220010002</c:v>
                </c:pt>
                <c:pt idx="175">
                  <c:v>3.3680239803299998</c:v>
                </c:pt>
                <c:pt idx="176">
                  <c:v>0</c:v>
                </c:pt>
                <c:pt idx="177">
                  <c:v>0</c:v>
                </c:pt>
                <c:pt idx="178">
                  <c:v>6.8561242329710002</c:v>
                </c:pt>
                <c:pt idx="179">
                  <c:v>0</c:v>
                </c:pt>
                <c:pt idx="180">
                  <c:v>3.4543507547750001</c:v>
                </c:pt>
                <c:pt idx="181">
                  <c:v>0</c:v>
                </c:pt>
                <c:pt idx="182">
                  <c:v>0</c:v>
                </c:pt>
                <c:pt idx="183">
                  <c:v>3.506434306953</c:v>
                </c:pt>
                <c:pt idx="184">
                  <c:v>3.5297024460830002</c:v>
                </c:pt>
                <c:pt idx="185">
                  <c:v>0</c:v>
                </c:pt>
                <c:pt idx="186">
                  <c:v>3.5780735651920001</c:v>
                </c:pt>
                <c:pt idx="187">
                  <c:v>0</c:v>
                </c:pt>
                <c:pt idx="188">
                  <c:v>0</c:v>
                </c:pt>
                <c:pt idx="189">
                  <c:v>7.2275224053190001</c:v>
                </c:pt>
                <c:pt idx="190">
                  <c:v>3.635966985419</c:v>
                </c:pt>
                <c:pt idx="191">
                  <c:v>3.6571094207130002</c:v>
                </c:pt>
                <c:pt idx="192">
                  <c:v>0</c:v>
                </c:pt>
                <c:pt idx="193">
                  <c:v>7.3879797569349996</c:v>
                </c:pt>
                <c:pt idx="194">
                  <c:v>7.4060359192740002</c:v>
                </c:pt>
                <c:pt idx="195">
                  <c:v>0</c:v>
                </c:pt>
                <c:pt idx="196">
                  <c:v>7.4468481215319997</c:v>
                </c:pt>
                <c:pt idx="197">
                  <c:v>7.4847498222370001</c:v>
                </c:pt>
                <c:pt idx="198">
                  <c:v>7.5233222991269999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11.522507297587</c:v>
                </c:pt>
                <c:pt idx="204">
                  <c:v>0</c:v>
                </c:pt>
                <c:pt idx="205">
                  <c:v>0</c:v>
                </c:pt>
                <c:pt idx="206">
                  <c:v>3.904877191612</c:v>
                </c:pt>
                <c:pt idx="207">
                  <c:v>0</c:v>
                </c:pt>
                <c:pt idx="208">
                  <c:v>7.8659639738839999</c:v>
                </c:pt>
                <c:pt idx="209">
                  <c:v>3.938868756893000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16.091399147154998</c:v>
                </c:pt>
                <c:pt idx="214">
                  <c:v>8.0942166821800008</c:v>
                </c:pt>
                <c:pt idx="215">
                  <c:v>4.0492387431159997</c:v>
                </c:pt>
                <c:pt idx="216">
                  <c:v>0</c:v>
                </c:pt>
                <c:pt idx="217">
                  <c:v>4.0700040700039999</c:v>
                </c:pt>
                <c:pt idx="218">
                  <c:v>12.265925259628</c:v>
                </c:pt>
                <c:pt idx="219">
                  <c:v>0</c:v>
                </c:pt>
                <c:pt idx="220">
                  <c:v>8.2430037505660003</c:v>
                </c:pt>
                <c:pt idx="221">
                  <c:v>0</c:v>
                </c:pt>
                <c:pt idx="222">
                  <c:v>0</c:v>
                </c:pt>
                <c:pt idx="223">
                  <c:v>4.1382164287189998</c:v>
                </c:pt>
                <c:pt idx="224">
                  <c:v>8.2942810931859992</c:v>
                </c:pt>
                <c:pt idx="225">
                  <c:v>12.469864494138999</c:v>
                </c:pt>
                <c:pt idx="226">
                  <c:v>8.328475056217</c:v>
                </c:pt>
                <c:pt idx="227">
                  <c:v>8.3458521114999993</c:v>
                </c:pt>
                <c:pt idx="228">
                  <c:v>20.910877838651</c:v>
                </c:pt>
                <c:pt idx="229">
                  <c:v>4.1821755677299999</c:v>
                </c:pt>
                <c:pt idx="230">
                  <c:v>0</c:v>
                </c:pt>
                <c:pt idx="231">
                  <c:v>25.142474019443</c:v>
                </c:pt>
                <c:pt idx="232">
                  <c:v>20.977554017201001</c:v>
                </c:pt>
                <c:pt idx="233">
                  <c:v>16.806016553926</c:v>
                </c:pt>
                <c:pt idx="234">
                  <c:v>12.617235143205001</c:v>
                </c:pt>
                <c:pt idx="235">
                  <c:v>12.641159615708</c:v>
                </c:pt>
                <c:pt idx="236">
                  <c:v>12.639029322548</c:v>
                </c:pt>
                <c:pt idx="237">
                  <c:v>12.635835228708</c:v>
                </c:pt>
                <c:pt idx="238">
                  <c:v>8.4334809192489999</c:v>
                </c:pt>
                <c:pt idx="239">
                  <c:v>16.899028305872001</c:v>
                </c:pt>
                <c:pt idx="240">
                  <c:v>33.838084764401998</c:v>
                </c:pt>
                <c:pt idx="241">
                  <c:v>33.895432590458</c:v>
                </c:pt>
                <c:pt idx="242">
                  <c:v>25.465812147192</c:v>
                </c:pt>
                <c:pt idx="243">
                  <c:v>12.737230925996</c:v>
                </c:pt>
                <c:pt idx="244">
                  <c:v>8.4929296360769992</c:v>
                </c:pt>
                <c:pt idx="245">
                  <c:v>17.017655817910999</c:v>
                </c:pt>
                <c:pt idx="246">
                  <c:v>34.088972217486997</c:v>
                </c:pt>
                <c:pt idx="247">
                  <c:v>21.340162185232</c:v>
                </c:pt>
                <c:pt idx="248">
                  <c:v>12.826542391722001</c:v>
                </c:pt>
                <c:pt idx="249">
                  <c:v>12.851267991775</c:v>
                </c:pt>
                <c:pt idx="250">
                  <c:v>12.855122766421999</c:v>
                </c:pt>
                <c:pt idx="251">
                  <c:v>8.5711836804659995</c:v>
                </c:pt>
                <c:pt idx="252">
                  <c:v>34.337711391535002</c:v>
                </c:pt>
                <c:pt idx="253">
                  <c:v>25.755494505493999</c:v>
                </c:pt>
                <c:pt idx="254">
                  <c:v>30.106231990021001</c:v>
                </c:pt>
                <c:pt idx="255">
                  <c:v>47.356638539693002</c:v>
                </c:pt>
                <c:pt idx="256">
                  <c:v>34.482758620688998</c:v>
                </c:pt>
                <c:pt idx="257">
                  <c:v>17.245839441234001</c:v>
                </c:pt>
                <c:pt idx="258">
                  <c:v>30.185424752048</c:v>
                </c:pt>
                <c:pt idx="259">
                  <c:v>86.348329159830001</c:v>
                </c:pt>
                <c:pt idx="260">
                  <c:v>73.494444684621996</c:v>
                </c:pt>
                <c:pt idx="261">
                  <c:v>56.272184226473001</c:v>
                </c:pt>
                <c:pt idx="262">
                  <c:v>112.695591868579</c:v>
                </c:pt>
                <c:pt idx="263">
                  <c:v>117.248566961959</c:v>
                </c:pt>
                <c:pt idx="264">
                  <c:v>43.436712709581997</c:v>
                </c:pt>
                <c:pt idx="265">
                  <c:v>26.064291920069</c:v>
                </c:pt>
                <c:pt idx="266">
                  <c:v>104.388673828889</c:v>
                </c:pt>
                <c:pt idx="267">
                  <c:v>126.268123829842</c:v>
                </c:pt>
                <c:pt idx="268">
                  <c:v>161.29032258064501</c:v>
                </c:pt>
                <c:pt idx="269">
                  <c:v>56.753688989784003</c:v>
                </c:pt>
                <c:pt idx="270">
                  <c:v>175.00109375683499</c:v>
                </c:pt>
                <c:pt idx="271">
                  <c:v>135.66145901710999</c:v>
                </c:pt>
                <c:pt idx="272">
                  <c:v>70.024946387149996</c:v>
                </c:pt>
                <c:pt idx="273">
                  <c:v>205.95065948030299</c:v>
                </c:pt>
                <c:pt idx="274">
                  <c:v>214.86516114886999</c:v>
                </c:pt>
                <c:pt idx="275">
                  <c:v>241.48226203020701</c:v>
                </c:pt>
                <c:pt idx="276">
                  <c:v>162.73035140959601</c:v>
                </c:pt>
                <c:pt idx="277">
                  <c:v>154.314183677968</c:v>
                </c:pt>
                <c:pt idx="278">
                  <c:v>136.75666137286001</c:v>
                </c:pt>
                <c:pt idx="279">
                  <c:v>39.724576271186002</c:v>
                </c:pt>
                <c:pt idx="280">
                  <c:v>269.69670174197501</c:v>
                </c:pt>
                <c:pt idx="281">
                  <c:v>248.30399503391999</c:v>
                </c:pt>
                <c:pt idx="282">
                  <c:v>315.78011030065801</c:v>
                </c:pt>
                <c:pt idx="283">
                  <c:v>186.95748942799901</c:v>
                </c:pt>
                <c:pt idx="284">
                  <c:v>303.58498147238703</c:v>
                </c:pt>
                <c:pt idx="285">
                  <c:v>201.08137092810199</c:v>
                </c:pt>
                <c:pt idx="286">
                  <c:v>80.493694660583998</c:v>
                </c:pt>
                <c:pt idx="287">
                  <c:v>340.89889656409702</c:v>
                </c:pt>
                <c:pt idx="288">
                  <c:v>463.19197733507201</c:v>
                </c:pt>
                <c:pt idx="289">
                  <c:v>207.468879668049</c:v>
                </c:pt>
                <c:pt idx="290">
                  <c:v>303.35959431313898</c:v>
                </c:pt>
                <c:pt idx="291">
                  <c:v>559.44692076776096</c:v>
                </c:pt>
                <c:pt idx="292">
                  <c:v>318.65980789365801</c:v>
                </c:pt>
                <c:pt idx="293">
                  <c:v>118.440233236151</c:v>
                </c:pt>
                <c:pt idx="294">
                  <c:v>384.03511178164803</c:v>
                </c:pt>
                <c:pt idx="295">
                  <c:v>504.12465627864299</c:v>
                </c:pt>
                <c:pt idx="296">
                  <c:v>285.18859245630102</c:v>
                </c:pt>
                <c:pt idx="297">
                  <c:v>420.03231017770503</c:v>
                </c:pt>
                <c:pt idx="298">
                  <c:v>333.96725265550299</c:v>
                </c:pt>
                <c:pt idx="299">
                  <c:v>176.44873699851399</c:v>
                </c:pt>
                <c:pt idx="300">
                  <c:v>116.18720081795701</c:v>
                </c:pt>
                <c:pt idx="301">
                  <c:v>392.010453612096</c:v>
                </c:pt>
                <c:pt idx="302">
                  <c:v>337.79028852920402</c:v>
                </c:pt>
                <c:pt idx="303">
                  <c:v>380.62121140923801</c:v>
                </c:pt>
                <c:pt idx="304">
                  <c:v>255.029753471238</c:v>
                </c:pt>
                <c:pt idx="305">
                  <c:v>285.089803288035</c:v>
                </c:pt>
                <c:pt idx="306">
                  <c:v>138.088662444645</c:v>
                </c:pt>
                <c:pt idx="307">
                  <c:v>119.206561129124</c:v>
                </c:pt>
                <c:pt idx="308">
                  <c:v>321.21967590372901</c:v>
                </c:pt>
                <c:pt idx="309">
                  <c:v>313.55523396044299</c:v>
                </c:pt>
                <c:pt idx="310">
                  <c:v>232.96447291787999</c:v>
                </c:pt>
                <c:pt idx="311">
                  <c:v>253.88145688897501</c:v>
                </c:pt>
                <c:pt idx="312">
                  <c:v>201.80144706403499</c:v>
                </c:pt>
                <c:pt idx="313">
                  <c:v>172.54128666502299</c:v>
                </c:pt>
                <c:pt idx="314">
                  <c:v>88.866946432979006</c:v>
                </c:pt>
                <c:pt idx="315">
                  <c:v>218.09169764559999</c:v>
                </c:pt>
                <c:pt idx="316">
                  <c:v>263.99681211396597</c:v>
                </c:pt>
                <c:pt idx="317">
                  <c:v>170.21276595744601</c:v>
                </c:pt>
                <c:pt idx="318">
                  <c:v>135.95850747771701</c:v>
                </c:pt>
                <c:pt idx="319">
                  <c:v>136.69501822600199</c:v>
                </c:pt>
                <c:pt idx="320">
                  <c:v>86.233133813533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28-48BB-953D-F4625A5DF8B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22</c:f>
              <c:numCache>
                <c:formatCode>m/d/yyyy</c:formatCode>
                <c:ptCount val="32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</c:numCache>
            </c:numRef>
          </c:cat>
          <c:val>
            <c:numRef>
              <c:f>List1!$C$2:$C$322</c:f>
              <c:numCache>
                <c:formatCode>General</c:formatCode>
                <c:ptCount val="3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5.300442757748002</c:v>
                </c:pt>
                <c:pt idx="10">
                  <c:v>10.128633647319999</c:v>
                </c:pt>
                <c:pt idx="11">
                  <c:v>32.323232323231998</c:v>
                </c:pt>
                <c:pt idx="12">
                  <c:v>0</c:v>
                </c:pt>
                <c:pt idx="13">
                  <c:v>0</c:v>
                </c:pt>
                <c:pt idx="14">
                  <c:v>6.6724494561950003</c:v>
                </c:pt>
                <c:pt idx="15">
                  <c:v>0</c:v>
                </c:pt>
                <c:pt idx="16">
                  <c:v>5.0200803212849996</c:v>
                </c:pt>
                <c:pt idx="17">
                  <c:v>17.692069529832999</c:v>
                </c:pt>
                <c:pt idx="18">
                  <c:v>16.115386164939999</c:v>
                </c:pt>
                <c:pt idx="19">
                  <c:v>0</c:v>
                </c:pt>
                <c:pt idx="20">
                  <c:v>0</c:v>
                </c:pt>
                <c:pt idx="21">
                  <c:v>18.385732671446</c:v>
                </c:pt>
                <c:pt idx="22">
                  <c:v>17.381026871067</c:v>
                </c:pt>
                <c:pt idx="23">
                  <c:v>33.065502760968997</c:v>
                </c:pt>
                <c:pt idx="24">
                  <c:v>12.639029322548</c:v>
                </c:pt>
                <c:pt idx="25">
                  <c:v>30.359148729468998</c:v>
                </c:pt>
                <c:pt idx="26">
                  <c:v>12.088244182532</c:v>
                </c:pt>
                <c:pt idx="27">
                  <c:v>21.123785382339999</c:v>
                </c:pt>
                <c:pt idx="28">
                  <c:v>41.207982574909998</c:v>
                </c:pt>
                <c:pt idx="29">
                  <c:v>17.326017903551001</c:v>
                </c:pt>
                <c:pt idx="30">
                  <c:v>22.704697034197999</c:v>
                </c:pt>
                <c:pt idx="31">
                  <c:v>19.482868991621999</c:v>
                </c:pt>
                <c:pt idx="32">
                  <c:v>35.617414175729998</c:v>
                </c:pt>
                <c:pt idx="33">
                  <c:v>2.7373261797869999</c:v>
                </c:pt>
                <c:pt idx="34">
                  <c:v>8.2036697749450003</c:v>
                </c:pt>
                <c:pt idx="35">
                  <c:v>18.934271030565</c:v>
                </c:pt>
                <c:pt idx="36">
                  <c:v>29.374065370646999</c:v>
                </c:pt>
                <c:pt idx="37">
                  <c:v>2.6445231924680002</c:v>
                </c:pt>
                <c:pt idx="38">
                  <c:v>18.337568438424999</c:v>
                </c:pt>
                <c:pt idx="39">
                  <c:v>23.287706678395999</c:v>
                </c:pt>
                <c:pt idx="40">
                  <c:v>12.932929825922001</c:v>
                </c:pt>
                <c:pt idx="41">
                  <c:v>7.7581525252779997</c:v>
                </c:pt>
                <c:pt idx="42">
                  <c:v>25.72347266881</c:v>
                </c:pt>
                <c:pt idx="43">
                  <c:v>12.777919754662999</c:v>
                </c:pt>
                <c:pt idx="44">
                  <c:v>12.678127694102001</c:v>
                </c:pt>
                <c:pt idx="45">
                  <c:v>10.068719007224001</c:v>
                </c:pt>
                <c:pt idx="46">
                  <c:v>17.442874585731001</c:v>
                </c:pt>
                <c:pt idx="47">
                  <c:v>2.4910322837779999</c:v>
                </c:pt>
                <c:pt idx="48">
                  <c:v>4.980327705563</c:v>
                </c:pt>
                <c:pt idx="49">
                  <c:v>17.285231004764999</c:v>
                </c:pt>
                <c:pt idx="50">
                  <c:v>12.250998456374001</c:v>
                </c:pt>
                <c:pt idx="51">
                  <c:v>19.423132951345</c:v>
                </c:pt>
                <c:pt idx="52">
                  <c:v>11.975761059614999</c:v>
                </c:pt>
                <c:pt idx="53">
                  <c:v>11.797461186352001</c:v>
                </c:pt>
                <c:pt idx="54">
                  <c:v>9.4224064826149991</c:v>
                </c:pt>
                <c:pt idx="55">
                  <c:v>9.4064528266390006</c:v>
                </c:pt>
                <c:pt idx="56">
                  <c:v>13.946353028681999</c:v>
                </c:pt>
                <c:pt idx="57">
                  <c:v>2.2987977287870001</c:v>
                </c:pt>
                <c:pt idx="58">
                  <c:v>9.0762633023980008</c:v>
                </c:pt>
                <c:pt idx="59">
                  <c:v>4.4704725289459999</c:v>
                </c:pt>
                <c:pt idx="60">
                  <c:v>4.3886597033259998</c:v>
                </c:pt>
                <c:pt idx="61">
                  <c:v>8.7655863081540009</c:v>
                </c:pt>
                <c:pt idx="62">
                  <c:v>2.1899088997890002</c:v>
                </c:pt>
                <c:pt idx="63">
                  <c:v>4.3249789157269998</c:v>
                </c:pt>
                <c:pt idx="64">
                  <c:v>14.956306219686001</c:v>
                </c:pt>
                <c:pt idx="65">
                  <c:v>4.2200324942499998</c:v>
                </c:pt>
                <c:pt idx="66">
                  <c:v>6.2351914203760002</c:v>
                </c:pt>
                <c:pt idx="67">
                  <c:v>4.0835494211560004</c:v>
                </c:pt>
                <c:pt idx="68">
                  <c:v>6.1093574992360002</c:v>
                </c:pt>
                <c:pt idx="69">
                  <c:v>2.0342155047900001</c:v>
                </c:pt>
                <c:pt idx="70">
                  <c:v>12.047950844360001</c:v>
                </c:pt>
                <c:pt idx="71">
                  <c:v>3.9610235284790001</c:v>
                </c:pt>
                <c:pt idx="72">
                  <c:v>7.808229874287</c:v>
                </c:pt>
                <c:pt idx="73">
                  <c:v>5.7530778966740002</c:v>
                </c:pt>
                <c:pt idx="74">
                  <c:v>3.8125738686180002</c:v>
                </c:pt>
                <c:pt idx="75">
                  <c:v>3.8004028427010002</c:v>
                </c:pt>
                <c:pt idx="76">
                  <c:v>1.89508793208</c:v>
                </c:pt>
                <c:pt idx="77">
                  <c:v>3.781862188941</c:v>
                </c:pt>
                <c:pt idx="78">
                  <c:v>9.2895362663489998</c:v>
                </c:pt>
                <c:pt idx="79">
                  <c:v>11.002310485201001</c:v>
                </c:pt>
                <c:pt idx="80">
                  <c:v>1.8084163697840001</c:v>
                </c:pt>
                <c:pt idx="81">
                  <c:v>3.5634743875270001</c:v>
                </c:pt>
                <c:pt idx="82">
                  <c:v>1.7733011774709999</c:v>
                </c:pt>
                <c:pt idx="83">
                  <c:v>1.769003520317</c:v>
                </c:pt>
                <c:pt idx="84">
                  <c:v>3.5071106668769998</c:v>
                </c:pt>
                <c:pt idx="85">
                  <c:v>1.7363522711479999</c:v>
                </c:pt>
                <c:pt idx="86">
                  <c:v>0</c:v>
                </c:pt>
                <c:pt idx="87">
                  <c:v>3.4093039905900002</c:v>
                </c:pt>
                <c:pt idx="88">
                  <c:v>6.747183051076</c:v>
                </c:pt>
                <c:pt idx="89">
                  <c:v>3.3677404145679999</c:v>
                </c:pt>
                <c:pt idx="90">
                  <c:v>1.681067814275</c:v>
                </c:pt>
                <c:pt idx="91">
                  <c:v>5.0143745403490003</c:v>
                </c:pt>
                <c:pt idx="92">
                  <c:v>9.9817002162699993</c:v>
                </c:pt>
                <c:pt idx="93">
                  <c:v>6.6283328085899997</c:v>
                </c:pt>
                <c:pt idx="94">
                  <c:v>3.2985338017250001</c:v>
                </c:pt>
                <c:pt idx="95">
                  <c:v>3.286338690065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1.631640777966</c:v>
                </c:pt>
                <c:pt idx="100">
                  <c:v>3.2525613920960001</c:v>
                </c:pt>
                <c:pt idx="101">
                  <c:v>3.2425947242980002</c:v>
                </c:pt>
                <c:pt idx="102">
                  <c:v>1.6162399793119999</c:v>
                </c:pt>
                <c:pt idx="103">
                  <c:v>1.6156393892880001</c:v>
                </c:pt>
                <c:pt idx="104">
                  <c:v>0</c:v>
                </c:pt>
                <c:pt idx="105">
                  <c:v>4.8386316349729999</c:v>
                </c:pt>
                <c:pt idx="106">
                  <c:v>1.610980442697</c:v>
                </c:pt>
                <c:pt idx="107">
                  <c:v>1.6076911946750001</c:v>
                </c:pt>
                <c:pt idx="108">
                  <c:v>3.2073898261589999</c:v>
                </c:pt>
                <c:pt idx="109">
                  <c:v>1.5996672692080001</c:v>
                </c:pt>
                <c:pt idx="110">
                  <c:v>0</c:v>
                </c:pt>
                <c:pt idx="111">
                  <c:v>0</c:v>
                </c:pt>
                <c:pt idx="112">
                  <c:v>1.5967808897260001</c:v>
                </c:pt>
                <c:pt idx="113">
                  <c:v>3.189741790402</c:v>
                </c:pt>
                <c:pt idx="114">
                  <c:v>0</c:v>
                </c:pt>
                <c:pt idx="115">
                  <c:v>0</c:v>
                </c:pt>
                <c:pt idx="116">
                  <c:v>1.583907499802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1.55460551884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1.530713771831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1.502133028901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1.471150734104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1.4380419620639999</c:v>
                </c:pt>
                <c:pt idx="148">
                  <c:v>0</c:v>
                </c:pt>
                <c:pt idx="150">
                  <c:v>0</c:v>
                </c:pt>
                <c:pt idx="151">
                  <c:v>1.4199301394370001</c:v>
                </c:pt>
                <c:pt idx="153">
                  <c:v>0</c:v>
                </c:pt>
                <c:pt idx="154">
                  <c:v>2.8261361067139998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1.388869599033</c:v>
                </c:pt>
                <c:pt idx="162">
                  <c:v>1.3844854559799999</c:v>
                </c:pt>
                <c:pt idx="163">
                  <c:v>2.7593438280370002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4.103798749709</c:v>
                </c:pt>
                <c:pt idx="169">
                  <c:v>0</c:v>
                </c:pt>
                <c:pt idx="170">
                  <c:v>1.3631592578959999</c:v>
                </c:pt>
                <c:pt idx="171">
                  <c:v>0</c:v>
                </c:pt>
                <c:pt idx="172">
                  <c:v>2.7130783944000001</c:v>
                </c:pt>
                <c:pt idx="173">
                  <c:v>1.355197181189</c:v>
                </c:pt>
                <c:pt idx="174">
                  <c:v>0</c:v>
                </c:pt>
                <c:pt idx="175">
                  <c:v>2.701753437981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1.337327484754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1.3288330188419999</c:v>
                </c:pt>
                <c:pt idx="184">
                  <c:v>0</c:v>
                </c:pt>
                <c:pt idx="185">
                  <c:v>1.3219644391559999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1.3117334557610001</c:v>
                </c:pt>
                <c:pt idx="191">
                  <c:v>1.309089004961</c:v>
                </c:pt>
                <c:pt idx="192">
                  <c:v>1.3068308046149999</c:v>
                </c:pt>
                <c:pt idx="193">
                  <c:v>0</c:v>
                </c:pt>
                <c:pt idx="194">
                  <c:v>1.303560022421</c:v>
                </c:pt>
                <c:pt idx="195">
                  <c:v>1.3028297462080001</c:v>
                </c:pt>
                <c:pt idx="196">
                  <c:v>1.3012023109349999</c:v>
                </c:pt>
                <c:pt idx="197">
                  <c:v>1.2989880882789999</c:v>
                </c:pt>
                <c:pt idx="198">
                  <c:v>0</c:v>
                </c:pt>
                <c:pt idx="199">
                  <c:v>1.2947665535899999</c:v>
                </c:pt>
                <c:pt idx="200">
                  <c:v>0</c:v>
                </c:pt>
                <c:pt idx="201">
                  <c:v>0</c:v>
                </c:pt>
                <c:pt idx="202">
                  <c:v>1.2907556083330001</c:v>
                </c:pt>
                <c:pt idx="203">
                  <c:v>2.5760581158710001</c:v>
                </c:pt>
                <c:pt idx="204">
                  <c:v>2.5721487730849999</c:v>
                </c:pt>
                <c:pt idx="205">
                  <c:v>0</c:v>
                </c:pt>
                <c:pt idx="206">
                  <c:v>1.2812299807809999</c:v>
                </c:pt>
                <c:pt idx="207">
                  <c:v>1.278870501573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2.5477057909349998</c:v>
                </c:pt>
                <c:pt idx="212">
                  <c:v>1.2714234857340001</c:v>
                </c:pt>
                <c:pt idx="213">
                  <c:v>2.538038857374</c:v>
                </c:pt>
                <c:pt idx="214">
                  <c:v>5.0657278184440004</c:v>
                </c:pt>
                <c:pt idx="215">
                  <c:v>0</c:v>
                </c:pt>
                <c:pt idx="216">
                  <c:v>1.2655985015310001</c:v>
                </c:pt>
                <c:pt idx="217">
                  <c:v>1.263631423986</c:v>
                </c:pt>
                <c:pt idx="218">
                  <c:v>3.784963601266</c:v>
                </c:pt>
                <c:pt idx="219">
                  <c:v>1.259953633706</c:v>
                </c:pt>
                <c:pt idx="220">
                  <c:v>2.5163563160539999</c:v>
                </c:pt>
                <c:pt idx="221">
                  <c:v>0</c:v>
                </c:pt>
                <c:pt idx="222">
                  <c:v>1.2564076791629999</c:v>
                </c:pt>
                <c:pt idx="223">
                  <c:v>1.2560604918730001</c:v>
                </c:pt>
                <c:pt idx="224">
                  <c:v>1.2550515826199999</c:v>
                </c:pt>
                <c:pt idx="225">
                  <c:v>2.5079942316129999</c:v>
                </c:pt>
                <c:pt idx="226">
                  <c:v>1.2531171288580001</c:v>
                </c:pt>
                <c:pt idx="227">
                  <c:v>7.5128657826519998</c:v>
                </c:pt>
                <c:pt idx="228">
                  <c:v>1.2511260134119999</c:v>
                </c:pt>
                <c:pt idx="229">
                  <c:v>1.250938203652</c:v>
                </c:pt>
                <c:pt idx="230">
                  <c:v>2.5017199324530002</c:v>
                </c:pt>
                <c:pt idx="231">
                  <c:v>4.9993125945179999</c:v>
                </c:pt>
                <c:pt idx="232">
                  <c:v>2.4983760555629999</c:v>
                </c:pt>
                <c:pt idx="233">
                  <c:v>2.4969412469719998</c:v>
                </c:pt>
                <c:pt idx="234">
                  <c:v>2.4958195023330001</c:v>
                </c:pt>
                <c:pt idx="235">
                  <c:v>4.9880909328970002</c:v>
                </c:pt>
                <c:pt idx="236">
                  <c:v>3.740695021134</c:v>
                </c:pt>
                <c:pt idx="237">
                  <c:v>3.7404151860849999</c:v>
                </c:pt>
                <c:pt idx="238">
                  <c:v>3.738597278301</c:v>
                </c:pt>
                <c:pt idx="239">
                  <c:v>6.2265725208899996</c:v>
                </c:pt>
                <c:pt idx="240">
                  <c:v>4.9787779589490002</c:v>
                </c:pt>
                <c:pt idx="241">
                  <c:v>9.9511151468409995</c:v>
                </c:pt>
                <c:pt idx="242">
                  <c:v>2.4861088667070002</c:v>
                </c:pt>
                <c:pt idx="243">
                  <c:v>2.4858616617979998</c:v>
                </c:pt>
                <c:pt idx="244">
                  <c:v>7.4572142333359999</c:v>
                </c:pt>
                <c:pt idx="245">
                  <c:v>7.4531383923580004</c:v>
                </c:pt>
                <c:pt idx="246">
                  <c:v>6.2080953563439998</c:v>
                </c:pt>
                <c:pt idx="247">
                  <c:v>4.9641341309040001</c:v>
                </c:pt>
                <c:pt idx="248">
                  <c:v>6.2020119326699996</c:v>
                </c:pt>
                <c:pt idx="249">
                  <c:v>7.4381702101279998</c:v>
                </c:pt>
                <c:pt idx="250">
                  <c:v>2.479174930583</c:v>
                </c:pt>
                <c:pt idx="251">
                  <c:v>2.479082739386</c:v>
                </c:pt>
                <c:pt idx="252">
                  <c:v>12.389884897969001</c:v>
                </c:pt>
                <c:pt idx="253">
                  <c:v>16.106451253205002</c:v>
                </c:pt>
                <c:pt idx="254">
                  <c:v>18.574011243468</c:v>
                </c:pt>
                <c:pt idx="255">
                  <c:v>12.379148562160999</c:v>
                </c:pt>
                <c:pt idx="256">
                  <c:v>11.137373312377999</c:v>
                </c:pt>
                <c:pt idx="257">
                  <c:v>7.4242724213019997</c:v>
                </c:pt>
                <c:pt idx="258">
                  <c:v>3.7119524870079998</c:v>
                </c:pt>
                <c:pt idx="259">
                  <c:v>18.553334652680999</c:v>
                </c:pt>
                <c:pt idx="260">
                  <c:v>14.836978696571</c:v>
                </c:pt>
                <c:pt idx="261">
                  <c:v>16.067632372571001</c:v>
                </c:pt>
                <c:pt idx="262">
                  <c:v>33.358455132876998</c:v>
                </c:pt>
                <c:pt idx="263">
                  <c:v>19.757476970190002</c:v>
                </c:pt>
                <c:pt idx="264">
                  <c:v>29.634019854792999</c:v>
                </c:pt>
                <c:pt idx="265">
                  <c:v>6.1735254534450004</c:v>
                </c:pt>
                <c:pt idx="266">
                  <c:v>50.604788941001999</c:v>
                </c:pt>
                <c:pt idx="267">
                  <c:v>48.122007798233</c:v>
                </c:pt>
                <c:pt idx="268">
                  <c:v>49.339467873837997</c:v>
                </c:pt>
                <c:pt idx="269">
                  <c:v>25.892361753282</c:v>
                </c:pt>
                <c:pt idx="270">
                  <c:v>50.521231239372</c:v>
                </c:pt>
                <c:pt idx="271">
                  <c:v>39.428289797929999</c:v>
                </c:pt>
                <c:pt idx="272">
                  <c:v>25.873858778014</c:v>
                </c:pt>
                <c:pt idx="273">
                  <c:v>78.829383652755993</c:v>
                </c:pt>
                <c:pt idx="274">
                  <c:v>67.732321863992993</c:v>
                </c:pt>
                <c:pt idx="275">
                  <c:v>76.327420010094002</c:v>
                </c:pt>
                <c:pt idx="276">
                  <c:v>79.984249255530997</c:v>
                </c:pt>
                <c:pt idx="277">
                  <c:v>94.687653713722995</c:v>
                </c:pt>
                <c:pt idx="278">
                  <c:v>63.936260466488001</c:v>
                </c:pt>
                <c:pt idx="279">
                  <c:v>23.358453916228999</c:v>
                </c:pt>
                <c:pt idx="280">
                  <c:v>89.705936566842993</c:v>
                </c:pt>
                <c:pt idx="281">
                  <c:v>111.73870333988199</c:v>
                </c:pt>
                <c:pt idx="282">
                  <c:v>119.00818334621501</c:v>
                </c:pt>
                <c:pt idx="283">
                  <c:v>65.011530346891007</c:v>
                </c:pt>
                <c:pt idx="284">
                  <c:v>115.213021522772</c:v>
                </c:pt>
                <c:pt idx="285">
                  <c:v>63.720804842781</c:v>
                </c:pt>
                <c:pt idx="286">
                  <c:v>44.106296173777999</c:v>
                </c:pt>
                <c:pt idx="287">
                  <c:v>102.83153990231</c:v>
                </c:pt>
                <c:pt idx="288">
                  <c:v>155.36688605612699</c:v>
                </c:pt>
                <c:pt idx="289">
                  <c:v>90.459018397408002</c:v>
                </c:pt>
                <c:pt idx="290">
                  <c:v>122.116523586806</c:v>
                </c:pt>
                <c:pt idx="291">
                  <c:v>137.826728627709</c:v>
                </c:pt>
                <c:pt idx="292">
                  <c:v>102.434027608409</c:v>
                </c:pt>
                <c:pt idx="293">
                  <c:v>71.936305887803002</c:v>
                </c:pt>
                <c:pt idx="294">
                  <c:v>131.55650839281699</c:v>
                </c:pt>
                <c:pt idx="295">
                  <c:v>181.386572524195</c:v>
                </c:pt>
                <c:pt idx="296">
                  <c:v>96.080172214586995</c:v>
                </c:pt>
                <c:pt idx="297">
                  <c:v>149.46048410615299</c:v>
                </c:pt>
                <c:pt idx="298">
                  <c:v>140.77669902912601</c:v>
                </c:pt>
                <c:pt idx="299">
                  <c:v>84.929811577145998</c:v>
                </c:pt>
                <c:pt idx="300">
                  <c:v>64.290739707415995</c:v>
                </c:pt>
                <c:pt idx="301">
                  <c:v>140.56346561647899</c:v>
                </c:pt>
                <c:pt idx="302">
                  <c:v>110.121496684253</c:v>
                </c:pt>
                <c:pt idx="303">
                  <c:v>112.51451800232201</c:v>
                </c:pt>
                <c:pt idx="304">
                  <c:v>109.967130703789</c:v>
                </c:pt>
                <c:pt idx="305">
                  <c:v>102.57152855712</c:v>
                </c:pt>
                <c:pt idx="306">
                  <c:v>68.755051083796005</c:v>
                </c:pt>
                <c:pt idx="307">
                  <c:v>48.238685013446002</c:v>
                </c:pt>
                <c:pt idx="308">
                  <c:v>120.44709963384</c:v>
                </c:pt>
                <c:pt idx="309">
                  <c:v>104.64151261110599</c:v>
                </c:pt>
                <c:pt idx="310">
                  <c:v>87.681368309790997</c:v>
                </c:pt>
                <c:pt idx="311">
                  <c:v>89.963654683507002</c:v>
                </c:pt>
                <c:pt idx="312">
                  <c:v>85.008560721254995</c:v>
                </c:pt>
                <c:pt idx="313">
                  <c:v>46.683105503817998</c:v>
                </c:pt>
                <c:pt idx="314">
                  <c:v>47.869221287442002</c:v>
                </c:pt>
                <c:pt idx="315">
                  <c:v>70.548846107855994</c:v>
                </c:pt>
                <c:pt idx="316">
                  <c:v>84.808523853889994</c:v>
                </c:pt>
                <c:pt idx="317">
                  <c:v>59.660175639557004</c:v>
                </c:pt>
                <c:pt idx="318">
                  <c:v>41.709866170914999</c:v>
                </c:pt>
                <c:pt idx="319">
                  <c:v>53.565689390422001</c:v>
                </c:pt>
                <c:pt idx="320">
                  <c:v>28.5591889190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28-48BB-953D-F4625A5DF8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22</c:f>
              <c:numCache>
                <c:formatCode>m/d/yyyy</c:formatCode>
                <c:ptCount val="32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</c:numCache>
            </c:numRef>
          </c:cat>
          <c:val>
            <c:numRef>
              <c:f>List1!$B$2:$B$322</c:f>
              <c:numCache>
                <c:formatCode>General</c:formatCode>
                <c:ptCount val="321"/>
                <c:pt idx="0">
                  <c:v>109.977460065115</c:v>
                </c:pt>
                <c:pt idx="1">
                  <c:v>142.323819533396</c:v>
                </c:pt>
                <c:pt idx="2">
                  <c:v>146.35810416735401</c:v>
                </c:pt>
                <c:pt idx="3">
                  <c:v>87.210906883038007</c:v>
                </c:pt>
                <c:pt idx="4">
                  <c:v>111.73307962917799</c:v>
                </c:pt>
                <c:pt idx="5">
                  <c:v>50.990998980180002</c:v>
                </c:pt>
                <c:pt idx="6">
                  <c:v>42.210965964631001</c:v>
                </c:pt>
                <c:pt idx="7">
                  <c:v>139.731938249661</c:v>
                </c:pt>
                <c:pt idx="8">
                  <c:v>166.00415575029299</c:v>
                </c:pt>
                <c:pt idx="9">
                  <c:v>146.57047978930399</c:v>
                </c:pt>
                <c:pt idx="10">
                  <c:v>115.15644992439201</c:v>
                </c:pt>
                <c:pt idx="11">
                  <c:v>119.75195930804701</c:v>
                </c:pt>
                <c:pt idx="12">
                  <c:v>60.609661893160002</c:v>
                </c:pt>
                <c:pt idx="13">
                  <c:v>26.209821534942002</c:v>
                </c:pt>
                <c:pt idx="14">
                  <c:v>143.16392269148099</c:v>
                </c:pt>
                <c:pt idx="15">
                  <c:v>145.37231465029799</c:v>
                </c:pt>
                <c:pt idx="16">
                  <c:v>160.49319814541099</c:v>
                </c:pt>
                <c:pt idx="17">
                  <c:v>160.49479370547201</c:v>
                </c:pt>
                <c:pt idx="18">
                  <c:v>138.27029183008699</c:v>
                </c:pt>
                <c:pt idx="19">
                  <c:v>73.276666044924994</c:v>
                </c:pt>
                <c:pt idx="20">
                  <c:v>40.073200379359001</c:v>
                </c:pt>
                <c:pt idx="21">
                  <c:v>158.90693757809501</c:v>
                </c:pt>
                <c:pt idx="22">
                  <c:v>198.39082993497101</c:v>
                </c:pt>
                <c:pt idx="23">
                  <c:v>187.17959463045901</c:v>
                </c:pt>
                <c:pt idx="24">
                  <c:v>197.88824967843101</c:v>
                </c:pt>
                <c:pt idx="25">
                  <c:v>190.160277948556</c:v>
                </c:pt>
                <c:pt idx="26">
                  <c:v>103.073597411707</c:v>
                </c:pt>
                <c:pt idx="27">
                  <c:v>41.532402434658003</c:v>
                </c:pt>
                <c:pt idx="28">
                  <c:v>213.681383731338</c:v>
                </c:pt>
                <c:pt idx="29">
                  <c:v>226.724413568584</c:v>
                </c:pt>
                <c:pt idx="30">
                  <c:v>223.44247451587401</c:v>
                </c:pt>
                <c:pt idx="31">
                  <c:v>207.08799036526699</c:v>
                </c:pt>
                <c:pt idx="32">
                  <c:v>181.616832779623</c:v>
                </c:pt>
                <c:pt idx="33">
                  <c:v>90.076786769048994</c:v>
                </c:pt>
                <c:pt idx="34">
                  <c:v>39.868875697705001</c:v>
                </c:pt>
                <c:pt idx="35">
                  <c:v>155.65009857839499</c:v>
                </c:pt>
                <c:pt idx="36">
                  <c:v>196.481200321514</c:v>
                </c:pt>
                <c:pt idx="37">
                  <c:v>176.25093353248599</c:v>
                </c:pt>
                <c:pt idx="38">
                  <c:v>148.525992048608</c:v>
                </c:pt>
                <c:pt idx="39">
                  <c:v>183.77922390937499</c:v>
                </c:pt>
                <c:pt idx="40">
                  <c:v>87.366502477894002</c:v>
                </c:pt>
                <c:pt idx="41">
                  <c:v>42.180109065709999</c:v>
                </c:pt>
                <c:pt idx="42">
                  <c:v>138.983306896291</c:v>
                </c:pt>
                <c:pt idx="43">
                  <c:v>178.78246113754099</c:v>
                </c:pt>
                <c:pt idx="44">
                  <c:v>136.82802237898301</c:v>
                </c:pt>
                <c:pt idx="45">
                  <c:v>121.93820781319</c:v>
                </c:pt>
                <c:pt idx="46">
                  <c:v>100.971467910961</c:v>
                </c:pt>
                <c:pt idx="47">
                  <c:v>38.240917782026003</c:v>
                </c:pt>
                <c:pt idx="48">
                  <c:v>24.473813020068</c:v>
                </c:pt>
                <c:pt idx="49">
                  <c:v>122.899191937813</c:v>
                </c:pt>
                <c:pt idx="50">
                  <c:v>106.465051689554</c:v>
                </c:pt>
                <c:pt idx="51">
                  <c:v>89.908541311424003</c:v>
                </c:pt>
                <c:pt idx="52">
                  <c:v>96.805421103580997</c:v>
                </c:pt>
                <c:pt idx="53">
                  <c:v>88.127911368499994</c:v>
                </c:pt>
                <c:pt idx="54">
                  <c:v>28.347795958864001</c:v>
                </c:pt>
                <c:pt idx="55">
                  <c:v>11.035439525791</c:v>
                </c:pt>
                <c:pt idx="56">
                  <c:v>98.653852273812007</c:v>
                </c:pt>
                <c:pt idx="57">
                  <c:v>117.238942601098</c:v>
                </c:pt>
                <c:pt idx="58">
                  <c:v>90.953386389475</c:v>
                </c:pt>
                <c:pt idx="59">
                  <c:v>50.873047131416001</c:v>
                </c:pt>
                <c:pt idx="60">
                  <c:v>31.616080937166998</c:v>
                </c:pt>
                <c:pt idx="61">
                  <c:v>13.333111114814001</c:v>
                </c:pt>
                <c:pt idx="62">
                  <c:v>26.693805368791001</c:v>
                </c:pt>
                <c:pt idx="63">
                  <c:v>15.200135112311999</c:v>
                </c:pt>
                <c:pt idx="64">
                  <c:v>82.121471343028006</c:v>
                </c:pt>
                <c:pt idx="65">
                  <c:v>69.368572568196996</c:v>
                </c:pt>
                <c:pt idx="66">
                  <c:v>73.825385386088996</c:v>
                </c:pt>
                <c:pt idx="67">
                  <c:v>59.021319215909998</c:v>
                </c:pt>
                <c:pt idx="68">
                  <c:v>23.303337754992</c:v>
                </c:pt>
                <c:pt idx="69">
                  <c:v>7.1766901105210001</c:v>
                </c:pt>
                <c:pt idx="70">
                  <c:v>47.275305925776998</c:v>
                </c:pt>
                <c:pt idx="71">
                  <c:v>55.265921190796</c:v>
                </c:pt>
                <c:pt idx="72">
                  <c:v>44.876589379206997</c:v>
                </c:pt>
                <c:pt idx="73">
                  <c:v>30.458785455929</c:v>
                </c:pt>
                <c:pt idx="74">
                  <c:v>36.381043561512001</c:v>
                </c:pt>
                <c:pt idx="75">
                  <c:v>13.453000980146999</c:v>
                </c:pt>
                <c:pt idx="76">
                  <c:v>7.7060897374139996</c:v>
                </c:pt>
                <c:pt idx="77">
                  <c:v>44.403258813081003</c:v>
                </c:pt>
                <c:pt idx="78">
                  <c:v>43.218607575043002</c:v>
                </c:pt>
                <c:pt idx="79">
                  <c:v>51.691916179568999</c:v>
                </c:pt>
                <c:pt idx="80">
                  <c:v>20.183671409829</c:v>
                </c:pt>
                <c:pt idx="81">
                  <c:v>28.765744108159002</c:v>
                </c:pt>
                <c:pt idx="82">
                  <c:v>8.2778030710639996</c:v>
                </c:pt>
                <c:pt idx="83">
                  <c:v>4.1516170548420002</c:v>
                </c:pt>
                <c:pt idx="84">
                  <c:v>25.136680701313001</c:v>
                </c:pt>
                <c:pt idx="85">
                  <c:v>33.891842657120002</c:v>
                </c:pt>
                <c:pt idx="86">
                  <c:v>23.573280757772999</c:v>
                </c:pt>
                <c:pt idx="87">
                  <c:v>43.323802096872001</c:v>
                </c:pt>
                <c:pt idx="88">
                  <c:v>35.116212716458001</c:v>
                </c:pt>
                <c:pt idx="89">
                  <c:v>13.195513525400999</c:v>
                </c:pt>
                <c:pt idx="90">
                  <c:v>8.8156212809089993</c:v>
                </c:pt>
                <c:pt idx="91">
                  <c:v>22.179342160710998</c:v>
                </c:pt>
                <c:pt idx="92">
                  <c:v>31.249302470926001</c:v>
                </c:pt>
                <c:pt idx="93">
                  <c:v>24.701338363424</c:v>
                </c:pt>
                <c:pt idx="94">
                  <c:v>29.361279248351</c:v>
                </c:pt>
                <c:pt idx="95">
                  <c:v>29.539412392919001</c:v>
                </c:pt>
                <c:pt idx="96">
                  <c:v>9.1068460715339992</c:v>
                </c:pt>
                <c:pt idx="97">
                  <c:v>4.560483411241</c:v>
                </c:pt>
                <c:pt idx="98">
                  <c:v>16.010612749021998</c:v>
                </c:pt>
                <c:pt idx="99">
                  <c:v>29.865833486490999</c:v>
                </c:pt>
                <c:pt idx="100">
                  <c:v>11.548677676405999</c:v>
                </c:pt>
                <c:pt idx="101">
                  <c:v>23.193246126727001</c:v>
                </c:pt>
                <c:pt idx="102">
                  <c:v>18.621540466934999</c:v>
                </c:pt>
                <c:pt idx="103">
                  <c:v>11.646595700076</c:v>
                </c:pt>
                <c:pt idx="104">
                  <c:v>4.6625480825269996</c:v>
                </c:pt>
                <c:pt idx="105">
                  <c:v>9.3451393593900001</c:v>
                </c:pt>
                <c:pt idx="106">
                  <c:v>11.704941826439001</c:v>
                </c:pt>
                <c:pt idx="107">
                  <c:v>4.6928527852080002</c:v>
                </c:pt>
                <c:pt idx="108">
                  <c:v>14.114326040930999</c:v>
                </c:pt>
                <c:pt idx="109">
                  <c:v>9.4417561666459999</c:v>
                </c:pt>
                <c:pt idx="110">
                  <c:v>2.361553902467</c:v>
                </c:pt>
                <c:pt idx="111">
                  <c:v>0</c:v>
                </c:pt>
                <c:pt idx="112">
                  <c:v>9.472836640932</c:v>
                </c:pt>
                <c:pt idx="113">
                  <c:v>0</c:v>
                </c:pt>
                <c:pt idx="114">
                  <c:v>11.902778108410001</c:v>
                </c:pt>
                <c:pt idx="115">
                  <c:v>0</c:v>
                </c:pt>
                <c:pt idx="116">
                  <c:v>2.396472392638</c:v>
                </c:pt>
                <c:pt idx="117">
                  <c:v>2.4094063222819999</c:v>
                </c:pt>
                <c:pt idx="118">
                  <c:v>0</c:v>
                </c:pt>
                <c:pt idx="119">
                  <c:v>2.4206041828039999</c:v>
                </c:pt>
                <c:pt idx="120">
                  <c:v>2.4387864598569999</c:v>
                </c:pt>
                <c:pt idx="121">
                  <c:v>2.4539275109809999</c:v>
                </c:pt>
                <c:pt idx="122">
                  <c:v>2.4784375929409999</c:v>
                </c:pt>
                <c:pt idx="123">
                  <c:v>4.9957536094310004</c:v>
                </c:pt>
                <c:pt idx="124">
                  <c:v>2.5033168948850002</c:v>
                </c:pt>
                <c:pt idx="125">
                  <c:v>0</c:v>
                </c:pt>
                <c:pt idx="126">
                  <c:v>2.5246149962129998</c:v>
                </c:pt>
                <c:pt idx="127">
                  <c:v>2.5426530041439999</c:v>
                </c:pt>
                <c:pt idx="128">
                  <c:v>5.121507771888</c:v>
                </c:pt>
                <c:pt idx="129">
                  <c:v>2.5831783426319999</c:v>
                </c:pt>
                <c:pt idx="131">
                  <c:v>2.6177325200910002</c:v>
                </c:pt>
                <c:pt idx="132">
                  <c:v>0</c:v>
                </c:pt>
                <c:pt idx="133">
                  <c:v>0</c:v>
                </c:pt>
                <c:pt idx="135">
                  <c:v>2.6791694574679998</c:v>
                </c:pt>
                <c:pt idx="136">
                  <c:v>5.3985477906439998</c:v>
                </c:pt>
                <c:pt idx="137">
                  <c:v>0</c:v>
                </c:pt>
                <c:pt idx="138">
                  <c:v>2.7333606669399999</c:v>
                </c:pt>
                <c:pt idx="139">
                  <c:v>2.7384505846590002</c:v>
                </c:pt>
                <c:pt idx="141">
                  <c:v>2.769392672186</c:v>
                </c:pt>
                <c:pt idx="142">
                  <c:v>5.5711858269030001</c:v>
                </c:pt>
                <c:pt idx="143">
                  <c:v>5.6091541395549998</c:v>
                </c:pt>
                <c:pt idx="145">
                  <c:v>2.8389734272079998</c:v>
                </c:pt>
                <c:pt idx="146">
                  <c:v>5.6882821387940004</c:v>
                </c:pt>
                <c:pt idx="147">
                  <c:v>0</c:v>
                </c:pt>
                <c:pt idx="148">
                  <c:v>2.8805161885000001</c:v>
                </c:pt>
                <c:pt idx="150">
                  <c:v>0</c:v>
                </c:pt>
                <c:pt idx="151">
                  <c:v>2.9444673458569999</c:v>
                </c:pt>
                <c:pt idx="153">
                  <c:v>0</c:v>
                </c:pt>
                <c:pt idx="154">
                  <c:v>0</c:v>
                </c:pt>
                <c:pt idx="155">
                  <c:v>2.9980512666760002</c:v>
                </c:pt>
                <c:pt idx="156">
                  <c:v>0</c:v>
                </c:pt>
                <c:pt idx="157">
                  <c:v>3.0426580660860001</c:v>
                </c:pt>
                <c:pt idx="158">
                  <c:v>12.280109292972</c:v>
                </c:pt>
                <c:pt idx="159">
                  <c:v>0</c:v>
                </c:pt>
                <c:pt idx="161">
                  <c:v>3.1050114885419999</c:v>
                </c:pt>
                <c:pt idx="162">
                  <c:v>0</c:v>
                </c:pt>
                <c:pt idx="163">
                  <c:v>6.3021900110280002</c:v>
                </c:pt>
                <c:pt idx="164">
                  <c:v>3.1776294884010001</c:v>
                </c:pt>
                <c:pt idx="165">
                  <c:v>9.6123037487980003</c:v>
                </c:pt>
                <c:pt idx="166">
                  <c:v>3.2122321801410001</c:v>
                </c:pt>
                <c:pt idx="167">
                  <c:v>3.2171926776689999</c:v>
                </c:pt>
                <c:pt idx="168">
                  <c:v>6.4451677354900001</c:v>
                </c:pt>
                <c:pt idx="169">
                  <c:v>6.4576539343250001</c:v>
                </c:pt>
                <c:pt idx="170">
                  <c:v>3.2520325203249998</c:v>
                </c:pt>
                <c:pt idx="171">
                  <c:v>6.5490029143059996</c:v>
                </c:pt>
                <c:pt idx="172">
                  <c:v>3.2972830387759999</c:v>
                </c:pt>
                <c:pt idx="173">
                  <c:v>0</c:v>
                </c:pt>
                <c:pt idx="174">
                  <c:v>6.6222972749239997</c:v>
                </c:pt>
                <c:pt idx="175">
                  <c:v>6.6624471168259998</c:v>
                </c:pt>
                <c:pt idx="176">
                  <c:v>3.3498593059089998</c:v>
                </c:pt>
                <c:pt idx="177">
                  <c:v>0</c:v>
                </c:pt>
                <c:pt idx="178">
                  <c:v>10.195065588255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3.5012779664570002</c:v>
                </c:pt>
                <c:pt idx="184">
                  <c:v>7.0579101528030002</c:v>
                </c:pt>
                <c:pt idx="185">
                  <c:v>0</c:v>
                </c:pt>
                <c:pt idx="186">
                  <c:v>7.1684587813620002</c:v>
                </c:pt>
                <c:pt idx="187">
                  <c:v>3.5985461873400002</c:v>
                </c:pt>
                <c:pt idx="188">
                  <c:v>0</c:v>
                </c:pt>
                <c:pt idx="189">
                  <c:v>21.783328492593</c:v>
                </c:pt>
                <c:pt idx="190">
                  <c:v>0</c:v>
                </c:pt>
                <c:pt idx="191">
                  <c:v>0</c:v>
                </c:pt>
                <c:pt idx="192">
                  <c:v>7.4134479946620004</c:v>
                </c:pt>
                <c:pt idx="193">
                  <c:v>14.92147573395</c:v>
                </c:pt>
                <c:pt idx="194">
                  <c:v>7.4797112831439998</c:v>
                </c:pt>
                <c:pt idx="195">
                  <c:v>3.749531308586</c:v>
                </c:pt>
                <c:pt idx="196">
                  <c:v>0</c:v>
                </c:pt>
                <c:pt idx="197">
                  <c:v>3.792044291077</c:v>
                </c:pt>
                <c:pt idx="198">
                  <c:v>3.8151920949210001</c:v>
                </c:pt>
                <c:pt idx="199">
                  <c:v>0</c:v>
                </c:pt>
                <c:pt idx="200">
                  <c:v>7.730962504831</c:v>
                </c:pt>
                <c:pt idx="201">
                  <c:v>3.8777726074140002</c:v>
                </c:pt>
                <c:pt idx="202">
                  <c:v>3.886664852889</c:v>
                </c:pt>
                <c:pt idx="203">
                  <c:v>0</c:v>
                </c:pt>
                <c:pt idx="204">
                  <c:v>7.8842590767529996</c:v>
                </c:pt>
                <c:pt idx="205">
                  <c:v>7.9402890265200003</c:v>
                </c:pt>
                <c:pt idx="206">
                  <c:v>7.9846694346850002</c:v>
                </c:pt>
                <c:pt idx="207">
                  <c:v>4.0239829383119998</c:v>
                </c:pt>
                <c:pt idx="208">
                  <c:v>0</c:v>
                </c:pt>
                <c:pt idx="209">
                  <c:v>4.0397511513289999</c:v>
                </c:pt>
                <c:pt idx="210">
                  <c:v>0</c:v>
                </c:pt>
                <c:pt idx="211">
                  <c:v>4.0876389797249999</c:v>
                </c:pt>
                <c:pt idx="212">
                  <c:v>4.1133643206770003</c:v>
                </c:pt>
                <c:pt idx="213">
                  <c:v>12.408487405384999</c:v>
                </c:pt>
                <c:pt idx="214">
                  <c:v>12.509903673741</c:v>
                </c:pt>
                <c:pt idx="215">
                  <c:v>16.722408026755001</c:v>
                </c:pt>
                <c:pt idx="216">
                  <c:v>4.187955440154</c:v>
                </c:pt>
                <c:pt idx="217">
                  <c:v>12.649687974362999</c:v>
                </c:pt>
                <c:pt idx="218">
                  <c:v>8.4799660801350001</c:v>
                </c:pt>
                <c:pt idx="219">
                  <c:v>4.2629380168809998</c:v>
                </c:pt>
                <c:pt idx="220">
                  <c:v>4.281371751509</c:v>
                </c:pt>
                <c:pt idx="221">
                  <c:v>4.306261303935</c:v>
                </c:pt>
                <c:pt idx="222">
                  <c:v>0</c:v>
                </c:pt>
                <c:pt idx="223">
                  <c:v>4.3185351528759996</c:v>
                </c:pt>
                <c:pt idx="224">
                  <c:v>0</c:v>
                </c:pt>
                <c:pt idx="225">
                  <c:v>0</c:v>
                </c:pt>
                <c:pt idx="226">
                  <c:v>4.3641441913239998</c:v>
                </c:pt>
                <c:pt idx="227">
                  <c:v>17.507769072525001</c:v>
                </c:pt>
                <c:pt idx="228">
                  <c:v>13.174073423502</c:v>
                </c:pt>
                <c:pt idx="229">
                  <c:v>0</c:v>
                </c:pt>
                <c:pt idx="230">
                  <c:v>21.990588028323</c:v>
                </c:pt>
                <c:pt idx="231">
                  <c:v>17.643685765956</c:v>
                </c:pt>
                <c:pt idx="232">
                  <c:v>13.260254596888</c:v>
                </c:pt>
                <c:pt idx="233">
                  <c:v>13.286682315425001</c:v>
                </c:pt>
                <c:pt idx="234">
                  <c:v>13.313806417254</c:v>
                </c:pt>
                <c:pt idx="235">
                  <c:v>22.255853289415001</c:v>
                </c:pt>
                <c:pt idx="236">
                  <c:v>13.363028953229</c:v>
                </c:pt>
                <c:pt idx="237">
                  <c:v>8.9142449634510008</c:v>
                </c:pt>
                <c:pt idx="238">
                  <c:v>8.9325591782040004</c:v>
                </c:pt>
                <c:pt idx="239">
                  <c:v>17.899494339284001</c:v>
                </c:pt>
                <c:pt idx="240">
                  <c:v>22.422530158303001</c:v>
                </c:pt>
                <c:pt idx="241">
                  <c:v>44.91959392687</c:v>
                </c:pt>
                <c:pt idx="242">
                  <c:v>49.569645351718997</c:v>
                </c:pt>
                <c:pt idx="243">
                  <c:v>18.037518037518002</c:v>
                </c:pt>
                <c:pt idx="244">
                  <c:v>18.052170773535</c:v>
                </c:pt>
                <c:pt idx="245">
                  <c:v>27.140724657347999</c:v>
                </c:pt>
                <c:pt idx="246">
                  <c:v>36.249943359463003</c:v>
                </c:pt>
                <c:pt idx="247">
                  <c:v>31.764759268502001</c:v>
                </c:pt>
                <c:pt idx="248">
                  <c:v>27.276446788198001</c:v>
                </c:pt>
                <c:pt idx="249">
                  <c:v>22.797738464344</c:v>
                </c:pt>
                <c:pt idx="250">
                  <c:v>18.254004472230999</c:v>
                </c:pt>
                <c:pt idx="251">
                  <c:v>13.701132626963</c:v>
                </c:pt>
                <c:pt idx="252">
                  <c:v>45.760307509265999</c:v>
                </c:pt>
                <c:pt idx="253">
                  <c:v>82.410035711014999</c:v>
                </c:pt>
                <c:pt idx="254">
                  <c:v>32.113037893384003</c:v>
                </c:pt>
                <c:pt idx="255">
                  <c:v>45.983354025841997</c:v>
                </c:pt>
                <c:pt idx="256">
                  <c:v>13.822973782426001</c:v>
                </c:pt>
                <c:pt idx="257">
                  <c:v>23.055286577212001</c:v>
                </c:pt>
                <c:pt idx="258">
                  <c:v>27.681660899653</c:v>
                </c:pt>
                <c:pt idx="259">
                  <c:v>124.826629680998</c:v>
                </c:pt>
                <c:pt idx="260">
                  <c:v>97.249235898859993</c:v>
                </c:pt>
                <c:pt idx="261">
                  <c:v>125.226102685404</c:v>
                </c:pt>
                <c:pt idx="262">
                  <c:v>130.02693415064499</c:v>
                </c:pt>
                <c:pt idx="263">
                  <c:v>83.787180561374001</c:v>
                </c:pt>
                <c:pt idx="264">
                  <c:v>74.529532327184</c:v>
                </c:pt>
                <c:pt idx="265">
                  <c:v>41.944353823926001</c:v>
                </c:pt>
                <c:pt idx="266">
                  <c:v>149.38611642780401</c:v>
                </c:pt>
                <c:pt idx="267">
                  <c:v>201.13195191543099</c:v>
                </c:pt>
                <c:pt idx="268">
                  <c:v>168.610369537726</c:v>
                </c:pt>
                <c:pt idx="269">
                  <c:v>107.91535682447299</c:v>
                </c:pt>
                <c:pt idx="270">
                  <c:v>188.11136192626</c:v>
                </c:pt>
                <c:pt idx="271">
                  <c:v>136.477010682855</c:v>
                </c:pt>
                <c:pt idx="272">
                  <c:v>80.048971135282002</c:v>
                </c:pt>
                <c:pt idx="273">
                  <c:v>273.468810410674</c:v>
                </c:pt>
                <c:pt idx="274">
                  <c:v>292.61846328110198</c:v>
                </c:pt>
                <c:pt idx="275">
                  <c:v>250.54363240994601</c:v>
                </c:pt>
                <c:pt idx="276">
                  <c:v>255.839295020609</c:v>
                </c:pt>
                <c:pt idx="277">
                  <c:v>270.770984751318</c:v>
                </c:pt>
                <c:pt idx="278">
                  <c:v>99.843103694193999</c:v>
                </c:pt>
                <c:pt idx="279">
                  <c:v>61.869407957356998</c:v>
                </c:pt>
                <c:pt idx="280">
                  <c:v>214.58204186734</c:v>
                </c:pt>
                <c:pt idx="281">
                  <c:v>286.93032375304801</c:v>
                </c:pt>
                <c:pt idx="282">
                  <c:v>287.88024181940301</c:v>
                </c:pt>
                <c:pt idx="283">
                  <c:v>259.34108154836201</c:v>
                </c:pt>
                <c:pt idx="284">
                  <c:v>395.02842277676001</c:v>
                </c:pt>
                <c:pt idx="285">
                  <c:v>159.197259877466</c:v>
                </c:pt>
                <c:pt idx="286">
                  <c:v>106.24426522432</c:v>
                </c:pt>
                <c:pt idx="287">
                  <c:v>329.345667651474</c:v>
                </c:pt>
                <c:pt idx="288">
                  <c:v>393.54776017879698</c:v>
                </c:pt>
                <c:pt idx="289">
                  <c:v>331.31943091015302</c:v>
                </c:pt>
                <c:pt idx="290">
                  <c:v>361.69900777164003</c:v>
                </c:pt>
                <c:pt idx="291">
                  <c:v>662.51165529763898</c:v>
                </c:pt>
                <c:pt idx="292">
                  <c:v>314.58906802988503</c:v>
                </c:pt>
                <c:pt idx="293">
                  <c:v>201.71209288595799</c:v>
                </c:pt>
                <c:pt idx="294">
                  <c:v>429.37518507550999</c:v>
                </c:pt>
                <c:pt idx="295">
                  <c:v>524.46687447429599</c:v>
                </c:pt>
                <c:pt idx="296">
                  <c:v>411.66550937406998</c:v>
                </c:pt>
                <c:pt idx="297">
                  <c:v>612.09256033839199</c:v>
                </c:pt>
                <c:pt idx="298">
                  <c:v>365.16432394577498</c:v>
                </c:pt>
                <c:pt idx="299">
                  <c:v>255.587852059737</c:v>
                </c:pt>
                <c:pt idx="300">
                  <c:v>165.60445626536799</c:v>
                </c:pt>
                <c:pt idx="301">
                  <c:v>489.18251046447102</c:v>
                </c:pt>
                <c:pt idx="302">
                  <c:v>511.83297015152198</c:v>
                </c:pt>
                <c:pt idx="303">
                  <c:v>380.63337393422597</c:v>
                </c:pt>
                <c:pt idx="304">
                  <c:v>326.34745805925201</c:v>
                </c:pt>
                <c:pt idx="305">
                  <c:v>313.38299511944501</c:v>
                </c:pt>
                <c:pt idx="306">
                  <c:v>236.63768712382301</c:v>
                </c:pt>
                <c:pt idx="307">
                  <c:v>108.147080028839</c:v>
                </c:pt>
                <c:pt idx="308">
                  <c:v>419.493500440209</c:v>
                </c:pt>
                <c:pt idx="309">
                  <c:v>395.38029341379598</c:v>
                </c:pt>
                <c:pt idx="310">
                  <c:v>366.18539443398203</c:v>
                </c:pt>
                <c:pt idx="311">
                  <c:v>263.42131605289501</c:v>
                </c:pt>
                <c:pt idx="312">
                  <c:v>254.736506925648</c:v>
                </c:pt>
                <c:pt idx="313">
                  <c:v>143.57883541611201</c:v>
                </c:pt>
                <c:pt idx="314">
                  <c:v>127.754710954966</c:v>
                </c:pt>
                <c:pt idx="315">
                  <c:v>283.54376203723501</c:v>
                </c:pt>
                <c:pt idx="316">
                  <c:v>451.27323519931201</c:v>
                </c:pt>
                <c:pt idx="317">
                  <c:v>248.259485131415</c:v>
                </c:pt>
                <c:pt idx="318">
                  <c:v>200.61812069619899</c:v>
                </c:pt>
                <c:pt idx="319">
                  <c:v>207.525531101523</c:v>
                </c:pt>
                <c:pt idx="320">
                  <c:v>136.783936094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3D6-4329-ABC8-2C99E095519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22</c:f>
              <c:numCache>
                <c:formatCode>m/d/yyyy</c:formatCode>
                <c:ptCount val="32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</c:numCache>
            </c:numRef>
          </c:cat>
          <c:val>
            <c:numRef>
              <c:f>List1!$C$2:$C$322</c:f>
              <c:numCache>
                <c:formatCode>General</c:formatCode>
                <c:ptCount val="3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54.629882545751997</c:v>
                </c:pt>
                <c:pt idx="9">
                  <c:v>0</c:v>
                </c:pt>
                <c:pt idx="10">
                  <c:v>16.066838046272</c:v>
                </c:pt>
                <c:pt idx="11">
                  <c:v>12.748597654258001</c:v>
                </c:pt>
                <c:pt idx="12">
                  <c:v>12.451749470799999</c:v>
                </c:pt>
                <c:pt idx="13">
                  <c:v>0</c:v>
                </c:pt>
                <c:pt idx="14">
                  <c:v>10.272213662044001</c:v>
                </c:pt>
                <c:pt idx="15">
                  <c:v>25.717959708529001</c:v>
                </c:pt>
                <c:pt idx="16">
                  <c:v>0</c:v>
                </c:pt>
                <c:pt idx="17">
                  <c:v>25.819777949909</c:v>
                </c:pt>
                <c:pt idx="18">
                  <c:v>17.74517922631</c:v>
                </c:pt>
                <c:pt idx="19">
                  <c:v>11.727453969742999</c:v>
                </c:pt>
                <c:pt idx="20">
                  <c:v>0</c:v>
                </c:pt>
                <c:pt idx="21">
                  <c:v>5.4156512320600001</c:v>
                </c:pt>
                <c:pt idx="22">
                  <c:v>35.897435897435003</c:v>
                </c:pt>
                <c:pt idx="23">
                  <c:v>4.881382407497</c:v>
                </c:pt>
                <c:pt idx="24">
                  <c:v>18.762606125990001</c:v>
                </c:pt>
                <c:pt idx="25">
                  <c:v>40.696359936694002</c:v>
                </c:pt>
                <c:pt idx="26">
                  <c:v>13.517166801838</c:v>
                </c:pt>
                <c:pt idx="27">
                  <c:v>4.501868275334</c:v>
                </c:pt>
                <c:pt idx="28">
                  <c:v>8.7784751788609992</c:v>
                </c:pt>
                <c:pt idx="29">
                  <c:v>25.810892196506</c:v>
                </c:pt>
                <c:pt idx="30">
                  <c:v>33.919864320541997</c:v>
                </c:pt>
                <c:pt idx="31">
                  <c:v>8.3375020843750001</c:v>
                </c:pt>
                <c:pt idx="32">
                  <c:v>8.2081589099559995</c:v>
                </c:pt>
                <c:pt idx="33">
                  <c:v>24.602263408233</c:v>
                </c:pt>
                <c:pt idx="34">
                  <c:v>4.0980247520689996</c:v>
                </c:pt>
                <c:pt idx="35">
                  <c:v>16.206798752076001</c:v>
                </c:pt>
                <c:pt idx="36">
                  <c:v>8.0083286618079992</c:v>
                </c:pt>
                <c:pt idx="37">
                  <c:v>11.894377924034</c:v>
                </c:pt>
                <c:pt idx="38">
                  <c:v>23.498080990051999</c:v>
                </c:pt>
                <c:pt idx="39">
                  <c:v>23.236900197512998</c:v>
                </c:pt>
                <c:pt idx="40">
                  <c:v>3.8708678485710002</c:v>
                </c:pt>
                <c:pt idx="41">
                  <c:v>7.7354476890350004</c:v>
                </c:pt>
                <c:pt idx="42">
                  <c:v>30.700744493053001</c:v>
                </c:pt>
                <c:pt idx="43">
                  <c:v>7.613826709304</c:v>
                </c:pt>
                <c:pt idx="44">
                  <c:v>0</c:v>
                </c:pt>
                <c:pt idx="45">
                  <c:v>22.476119123431001</c:v>
                </c:pt>
                <c:pt idx="46">
                  <c:v>22.260972804510999</c:v>
                </c:pt>
                <c:pt idx="47">
                  <c:v>3.709336399718</c:v>
                </c:pt>
                <c:pt idx="48">
                  <c:v>3.7071362372559999</c:v>
                </c:pt>
                <c:pt idx="49">
                  <c:v>14.666520001466001</c:v>
                </c:pt>
                <c:pt idx="50">
                  <c:v>25.387154100025001</c:v>
                </c:pt>
                <c:pt idx="51">
                  <c:v>21.513858510523001</c:v>
                </c:pt>
                <c:pt idx="52">
                  <c:v>14.099897775741001</c:v>
                </c:pt>
                <c:pt idx="53">
                  <c:v>0</c:v>
                </c:pt>
                <c:pt idx="54">
                  <c:v>3.454112120479</c:v>
                </c:pt>
                <c:pt idx="55">
                  <c:v>0</c:v>
                </c:pt>
                <c:pt idx="56">
                  <c:v>13.498009043666</c:v>
                </c:pt>
                <c:pt idx="57">
                  <c:v>16.539861065166999</c:v>
                </c:pt>
                <c:pt idx="58">
                  <c:v>16.158743496105</c:v>
                </c:pt>
                <c:pt idx="59">
                  <c:v>6.3271116735210002</c:v>
                </c:pt>
                <c:pt idx="60">
                  <c:v>3.0785333866940001</c:v>
                </c:pt>
                <c:pt idx="61">
                  <c:v>9.1993499126059994</c:v>
                </c:pt>
                <c:pt idx="62">
                  <c:v>0</c:v>
                </c:pt>
                <c:pt idx="63">
                  <c:v>0</c:v>
                </c:pt>
                <c:pt idx="64">
                  <c:v>2.9187706138170002</c:v>
                </c:pt>
                <c:pt idx="65">
                  <c:v>11.402183518143</c:v>
                </c:pt>
                <c:pt idx="66">
                  <c:v>5.5732040349989997</c:v>
                </c:pt>
                <c:pt idx="67">
                  <c:v>2.7101739931700002</c:v>
                </c:pt>
                <c:pt idx="68">
                  <c:v>5.3970909679680004</c:v>
                </c:pt>
                <c:pt idx="69">
                  <c:v>0</c:v>
                </c:pt>
                <c:pt idx="70">
                  <c:v>2.6376177036900001</c:v>
                </c:pt>
                <c:pt idx="71">
                  <c:v>5.1733057423690001</c:v>
                </c:pt>
                <c:pt idx="72">
                  <c:v>2.5319019647549998</c:v>
                </c:pt>
                <c:pt idx="73">
                  <c:v>7.4112502779209999</c:v>
                </c:pt>
                <c:pt idx="74">
                  <c:v>4.8999191513340001</c:v>
                </c:pt>
                <c:pt idx="75">
                  <c:v>4.8730568685730002</c:v>
                </c:pt>
                <c:pt idx="76">
                  <c:v>2.4271255552039999</c:v>
                </c:pt>
                <c:pt idx="77">
                  <c:v>7.2563674624479999</c:v>
                </c:pt>
                <c:pt idx="78">
                  <c:v>4.7314880529919998</c:v>
                </c:pt>
                <c:pt idx="79">
                  <c:v>4.6609182008849999</c:v>
                </c:pt>
                <c:pt idx="80">
                  <c:v>4.5770779934089996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8.765394223605</c:v>
                </c:pt>
                <c:pt idx="85">
                  <c:v>8.6585709028720004</c:v>
                </c:pt>
                <c:pt idx="86">
                  <c:v>4.2756969386000003</c:v>
                </c:pt>
                <c:pt idx="87">
                  <c:v>6.3414221696109996</c:v>
                </c:pt>
                <c:pt idx="88">
                  <c:v>2.0858537399350001</c:v>
                </c:pt>
                <c:pt idx="89">
                  <c:v>0</c:v>
                </c:pt>
                <c:pt idx="90">
                  <c:v>0</c:v>
                </c:pt>
                <c:pt idx="91">
                  <c:v>6.1942517343899999</c:v>
                </c:pt>
                <c:pt idx="92">
                  <c:v>6.1587731723839996</c:v>
                </c:pt>
                <c:pt idx="93">
                  <c:v>0</c:v>
                </c:pt>
                <c:pt idx="94">
                  <c:v>2.031570607236</c:v>
                </c:pt>
                <c:pt idx="95">
                  <c:v>4.0417104518629996</c:v>
                </c:pt>
                <c:pt idx="96">
                  <c:v>0</c:v>
                </c:pt>
                <c:pt idx="97">
                  <c:v>0</c:v>
                </c:pt>
                <c:pt idx="98">
                  <c:v>4.0199388969280001</c:v>
                </c:pt>
                <c:pt idx="99">
                  <c:v>4.0049661580349998</c:v>
                </c:pt>
                <c:pt idx="100">
                  <c:v>7.9736868334490003</c:v>
                </c:pt>
                <c:pt idx="101">
                  <c:v>1.986610246935</c:v>
                </c:pt>
                <c:pt idx="102">
                  <c:v>1.9807471378199999</c:v>
                </c:pt>
                <c:pt idx="103">
                  <c:v>0</c:v>
                </c:pt>
                <c:pt idx="104">
                  <c:v>1.9786699380670001</c:v>
                </c:pt>
                <c:pt idx="105">
                  <c:v>7.9013906447529996</c:v>
                </c:pt>
                <c:pt idx="106">
                  <c:v>3.944461975386</c:v>
                </c:pt>
                <c:pt idx="107">
                  <c:v>1.968658949523</c:v>
                </c:pt>
                <c:pt idx="108">
                  <c:v>3.929427482415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1.9548431238390001</c:v>
                </c:pt>
                <c:pt idx="113">
                  <c:v>0</c:v>
                </c:pt>
                <c:pt idx="114">
                  <c:v>1.9470025895130001</c:v>
                </c:pt>
                <c:pt idx="115">
                  <c:v>1.941257546638</c:v>
                </c:pt>
                <c:pt idx="116">
                  <c:v>1.936970964805</c:v>
                </c:pt>
                <c:pt idx="117">
                  <c:v>1.92882630919</c:v>
                </c:pt>
                <c:pt idx="118">
                  <c:v>0</c:v>
                </c:pt>
                <c:pt idx="119">
                  <c:v>1.922189758572</c:v>
                </c:pt>
                <c:pt idx="120">
                  <c:v>0</c:v>
                </c:pt>
                <c:pt idx="121">
                  <c:v>0</c:v>
                </c:pt>
                <c:pt idx="122">
                  <c:v>1.88743346797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1.861746690745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1.685374321636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1.6603297414860001</c:v>
                </c:pt>
                <c:pt idx="157">
                  <c:v>4.9605635200149996</c:v>
                </c:pt>
                <c:pt idx="158">
                  <c:v>0</c:v>
                </c:pt>
                <c:pt idx="159">
                  <c:v>0</c:v>
                </c:pt>
                <c:pt idx="161">
                  <c:v>3.2696300413600001</c:v>
                </c:pt>
                <c:pt idx="162">
                  <c:v>0</c:v>
                </c:pt>
                <c:pt idx="163">
                  <c:v>3.243856945908</c:v>
                </c:pt>
                <c:pt idx="164">
                  <c:v>1.614778452396</c:v>
                </c:pt>
                <c:pt idx="165">
                  <c:v>3.2156408772259999</c:v>
                </c:pt>
                <c:pt idx="166">
                  <c:v>0</c:v>
                </c:pt>
                <c:pt idx="167">
                  <c:v>0</c:v>
                </c:pt>
                <c:pt idx="168">
                  <c:v>3.205230936889</c:v>
                </c:pt>
                <c:pt idx="169">
                  <c:v>4.8026126212650002</c:v>
                </c:pt>
                <c:pt idx="170">
                  <c:v>0</c:v>
                </c:pt>
                <c:pt idx="171">
                  <c:v>1.589471341831</c:v>
                </c:pt>
                <c:pt idx="172">
                  <c:v>1.5839576766500001</c:v>
                </c:pt>
                <c:pt idx="173">
                  <c:v>0</c:v>
                </c:pt>
                <c:pt idx="174">
                  <c:v>0</c:v>
                </c:pt>
                <c:pt idx="175">
                  <c:v>1.5756716300319999</c:v>
                </c:pt>
                <c:pt idx="176">
                  <c:v>4.7140163419230001</c:v>
                </c:pt>
                <c:pt idx="177">
                  <c:v>1.5655822400349999</c:v>
                </c:pt>
                <c:pt idx="178">
                  <c:v>1.5605006085949999</c:v>
                </c:pt>
                <c:pt idx="179">
                  <c:v>1.5548955887610001</c:v>
                </c:pt>
                <c:pt idx="180">
                  <c:v>1.5532291634299999</c:v>
                </c:pt>
                <c:pt idx="181">
                  <c:v>1.5510368681460001</c:v>
                </c:pt>
                <c:pt idx="182">
                  <c:v>3.091572373709</c:v>
                </c:pt>
                <c:pt idx="183">
                  <c:v>4.6212144551580003</c:v>
                </c:pt>
                <c:pt idx="184">
                  <c:v>1.535461482948</c:v>
                </c:pt>
                <c:pt idx="185">
                  <c:v>1.530737203036</c:v>
                </c:pt>
                <c:pt idx="186">
                  <c:v>1.5259021896689999</c:v>
                </c:pt>
                <c:pt idx="187">
                  <c:v>0</c:v>
                </c:pt>
                <c:pt idx="188">
                  <c:v>0</c:v>
                </c:pt>
                <c:pt idx="189">
                  <c:v>3.0373902742759999</c:v>
                </c:pt>
                <c:pt idx="190">
                  <c:v>1.514623691743</c:v>
                </c:pt>
                <c:pt idx="191">
                  <c:v>1.510323058102</c:v>
                </c:pt>
                <c:pt idx="192">
                  <c:v>0</c:v>
                </c:pt>
                <c:pt idx="193">
                  <c:v>3.0064337682639999</c:v>
                </c:pt>
                <c:pt idx="194">
                  <c:v>0</c:v>
                </c:pt>
                <c:pt idx="195">
                  <c:v>0</c:v>
                </c:pt>
                <c:pt idx="196">
                  <c:v>1.49772346034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.4846266906179999</c:v>
                </c:pt>
                <c:pt idx="201">
                  <c:v>1.48312940304</c:v>
                </c:pt>
                <c:pt idx="202">
                  <c:v>1.4821621781850001</c:v>
                </c:pt>
                <c:pt idx="203">
                  <c:v>1.478240302743</c:v>
                </c:pt>
                <c:pt idx="204">
                  <c:v>1.4749044999330001</c:v>
                </c:pt>
                <c:pt idx="205">
                  <c:v>4.414036636504</c:v>
                </c:pt>
                <c:pt idx="206">
                  <c:v>0</c:v>
                </c:pt>
                <c:pt idx="207">
                  <c:v>1.4647078640160001</c:v>
                </c:pt>
                <c:pt idx="208">
                  <c:v>0</c:v>
                </c:pt>
                <c:pt idx="209">
                  <c:v>0</c:v>
                </c:pt>
                <c:pt idx="210">
                  <c:v>1.4600245284119999</c:v>
                </c:pt>
                <c:pt idx="211">
                  <c:v>0</c:v>
                </c:pt>
                <c:pt idx="212">
                  <c:v>1.454566611877</c:v>
                </c:pt>
                <c:pt idx="213">
                  <c:v>2.90368477598</c:v>
                </c:pt>
                <c:pt idx="214">
                  <c:v>4.3434197191250004</c:v>
                </c:pt>
                <c:pt idx="215">
                  <c:v>1.446633683418</c:v>
                </c:pt>
                <c:pt idx="216">
                  <c:v>0</c:v>
                </c:pt>
                <c:pt idx="217">
                  <c:v>2.8851286046069999</c:v>
                </c:pt>
                <c:pt idx="218">
                  <c:v>2.8798940199</c:v>
                </c:pt>
                <c:pt idx="219">
                  <c:v>0</c:v>
                </c:pt>
                <c:pt idx="220">
                  <c:v>2.8708408692899998</c:v>
                </c:pt>
                <c:pt idx="221">
                  <c:v>1.4327468622840001</c:v>
                </c:pt>
                <c:pt idx="222">
                  <c:v>0</c:v>
                </c:pt>
                <c:pt idx="223">
                  <c:v>2.8631554836580002</c:v>
                </c:pt>
                <c:pt idx="224">
                  <c:v>2.8601255595119999</c:v>
                </c:pt>
                <c:pt idx="225">
                  <c:v>4.284612528207</c:v>
                </c:pt>
                <c:pt idx="226">
                  <c:v>5.707681111856</c:v>
                </c:pt>
                <c:pt idx="227">
                  <c:v>4.2769160583939998</c:v>
                </c:pt>
                <c:pt idx="228">
                  <c:v>1.4242173925420001</c:v>
                </c:pt>
                <c:pt idx="229">
                  <c:v>2.8477858465039998</c:v>
                </c:pt>
                <c:pt idx="230">
                  <c:v>1.4236902050110001</c:v>
                </c:pt>
                <c:pt idx="231">
                  <c:v>5.6898194904760002</c:v>
                </c:pt>
                <c:pt idx="232">
                  <c:v>8.5295121119069996</c:v>
                </c:pt>
                <c:pt idx="233">
                  <c:v>7.1038872471010004</c:v>
                </c:pt>
                <c:pt idx="234">
                  <c:v>5.6798012069570003</c:v>
                </c:pt>
                <c:pt idx="235">
                  <c:v>0</c:v>
                </c:pt>
                <c:pt idx="236">
                  <c:v>1.418459836309</c:v>
                </c:pt>
                <c:pt idx="237">
                  <c:v>0</c:v>
                </c:pt>
                <c:pt idx="238">
                  <c:v>7.0871722182839996</c:v>
                </c:pt>
                <c:pt idx="239">
                  <c:v>2.8333427778089999</c:v>
                </c:pt>
                <c:pt idx="240">
                  <c:v>5.6631555102500002</c:v>
                </c:pt>
                <c:pt idx="241">
                  <c:v>2.8302954828479998</c:v>
                </c:pt>
                <c:pt idx="242">
                  <c:v>0</c:v>
                </c:pt>
                <c:pt idx="243">
                  <c:v>0</c:v>
                </c:pt>
                <c:pt idx="244">
                  <c:v>4.2411818760160003</c:v>
                </c:pt>
                <c:pt idx="245">
                  <c:v>5.6515534707599997</c:v>
                </c:pt>
                <c:pt idx="246">
                  <c:v>7.0615484563450002</c:v>
                </c:pt>
                <c:pt idx="247">
                  <c:v>8.4712260687860006</c:v>
                </c:pt>
                <c:pt idx="248">
                  <c:v>14.112533340860001</c:v>
                </c:pt>
                <c:pt idx="249">
                  <c:v>7.0507939193949998</c:v>
                </c:pt>
                <c:pt idx="250">
                  <c:v>5.6398398285480003</c:v>
                </c:pt>
                <c:pt idx="251">
                  <c:v>2.8196018722149998</c:v>
                </c:pt>
                <c:pt idx="252">
                  <c:v>12.682308180088</c:v>
                </c:pt>
                <c:pt idx="253">
                  <c:v>18.318373328448001</c:v>
                </c:pt>
                <c:pt idx="254">
                  <c:v>15.492739538879</c:v>
                </c:pt>
                <c:pt idx="255">
                  <c:v>12.668383936489001</c:v>
                </c:pt>
                <c:pt idx="256">
                  <c:v>15.475955992008</c:v>
                </c:pt>
                <c:pt idx="257">
                  <c:v>5.6271453491640004</c:v>
                </c:pt>
                <c:pt idx="258">
                  <c:v>9.8470887785379997</c:v>
                </c:pt>
                <c:pt idx="259">
                  <c:v>16.872179182541998</c:v>
                </c:pt>
                <c:pt idx="260">
                  <c:v>47.787038468565001</c:v>
                </c:pt>
                <c:pt idx="261">
                  <c:v>32.315625307349002</c:v>
                </c:pt>
                <c:pt idx="262">
                  <c:v>36.521983424638002</c:v>
                </c:pt>
                <c:pt idx="263">
                  <c:v>39.308176100628003</c:v>
                </c:pt>
                <c:pt idx="264">
                  <c:v>16.844942306071999</c:v>
                </c:pt>
                <c:pt idx="265">
                  <c:v>18.248431336766998</c:v>
                </c:pt>
                <c:pt idx="266">
                  <c:v>68.756489770718005</c:v>
                </c:pt>
                <c:pt idx="267">
                  <c:v>61.712811018540997</c:v>
                </c:pt>
                <c:pt idx="268">
                  <c:v>40.663516412636</c:v>
                </c:pt>
                <c:pt idx="269">
                  <c:v>25.229164914641</c:v>
                </c:pt>
                <c:pt idx="270">
                  <c:v>60.236744414092001</c:v>
                </c:pt>
                <c:pt idx="271">
                  <c:v>36.419156476306</c:v>
                </c:pt>
                <c:pt idx="272">
                  <c:v>35.016948202930003</c:v>
                </c:pt>
                <c:pt idx="273">
                  <c:v>109.223810790752</c:v>
                </c:pt>
                <c:pt idx="274">
                  <c:v>92.403326519754003</c:v>
                </c:pt>
                <c:pt idx="275">
                  <c:v>74.176708513525995</c:v>
                </c:pt>
                <c:pt idx="276">
                  <c:v>85.326619107566998</c:v>
                </c:pt>
                <c:pt idx="277">
                  <c:v>106.23872960845399</c:v>
                </c:pt>
                <c:pt idx="278">
                  <c:v>47.521209834095004</c:v>
                </c:pt>
                <c:pt idx="279">
                  <c:v>36.333654746432998</c:v>
                </c:pt>
                <c:pt idx="280">
                  <c:v>117.33154542406901</c:v>
                </c:pt>
                <c:pt idx="281">
                  <c:v>124.22707033485401</c:v>
                </c:pt>
                <c:pt idx="282">
                  <c:v>114.359031574249</c:v>
                </c:pt>
                <c:pt idx="283">
                  <c:v>93.424061576216999</c:v>
                </c:pt>
                <c:pt idx="284">
                  <c:v>122.612197126973</c:v>
                </c:pt>
                <c:pt idx="285">
                  <c:v>89.146422999777002</c:v>
                </c:pt>
                <c:pt idx="286">
                  <c:v>43.172481024998</c:v>
                </c:pt>
                <c:pt idx="287">
                  <c:v>136.38198087868901</c:v>
                </c:pt>
                <c:pt idx="288">
                  <c:v>166.86829919485999</c:v>
                </c:pt>
                <c:pt idx="289">
                  <c:v>105.609827272348</c:v>
                </c:pt>
                <c:pt idx="290">
                  <c:v>127.744067537733</c:v>
                </c:pt>
                <c:pt idx="291">
                  <c:v>167.83876381895601</c:v>
                </c:pt>
                <c:pt idx="292">
                  <c:v>84.584771967774003</c:v>
                </c:pt>
                <c:pt idx="293">
                  <c:v>69.322167842832002</c:v>
                </c:pt>
                <c:pt idx="294">
                  <c:v>163.47339401244</c:v>
                </c:pt>
                <c:pt idx="295">
                  <c:v>152.301834544825</c:v>
                </c:pt>
                <c:pt idx="296">
                  <c:v>139.76143691362401</c:v>
                </c:pt>
                <c:pt idx="297">
                  <c:v>192.190697417178</c:v>
                </c:pt>
                <c:pt idx="298">
                  <c:v>115.990057995028</c:v>
                </c:pt>
                <c:pt idx="299">
                  <c:v>92.480123674910999</c:v>
                </c:pt>
                <c:pt idx="300">
                  <c:v>68.996922737245001</c:v>
                </c:pt>
                <c:pt idx="301">
                  <c:v>155.74177187276001</c:v>
                </c:pt>
                <c:pt idx="302">
                  <c:v>123.89185617532</c:v>
                </c:pt>
                <c:pt idx="303">
                  <c:v>132.12584987200299</c:v>
                </c:pt>
                <c:pt idx="304">
                  <c:v>92.103816122290993</c:v>
                </c:pt>
                <c:pt idx="305">
                  <c:v>137.20432468031299</c:v>
                </c:pt>
                <c:pt idx="306">
                  <c:v>74.071025883708003</c:v>
                </c:pt>
                <c:pt idx="307">
                  <c:v>61.713157245124002</c:v>
                </c:pt>
                <c:pt idx="308">
                  <c:v>161.5995617639</c:v>
                </c:pt>
                <c:pt idx="309">
                  <c:v>124.48530115867</c:v>
                </c:pt>
                <c:pt idx="310">
                  <c:v>98.360655737703993</c:v>
                </c:pt>
                <c:pt idx="311">
                  <c:v>90.005318496092002</c:v>
                </c:pt>
                <c:pt idx="312">
                  <c:v>69.425537707594998</c:v>
                </c:pt>
                <c:pt idx="313">
                  <c:v>69.395308332878997</c:v>
                </c:pt>
                <c:pt idx="314">
                  <c:v>50.337396604265997</c:v>
                </c:pt>
                <c:pt idx="315">
                  <c:v>93.760191325144007</c:v>
                </c:pt>
                <c:pt idx="316">
                  <c:v>119.462959694826</c:v>
                </c:pt>
                <c:pt idx="317">
                  <c:v>67.803965175882993</c:v>
                </c:pt>
                <c:pt idx="318">
                  <c:v>51.475867300631997</c:v>
                </c:pt>
                <c:pt idx="319">
                  <c:v>56.797436001459999</c:v>
                </c:pt>
                <c:pt idx="320">
                  <c:v>37.8511368859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3D6-4329-ABC8-2C99E09551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22</c:f>
              <c:numCache>
                <c:formatCode>m/d/yyyy</c:formatCode>
                <c:ptCount val="32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</c:numCache>
            </c:numRef>
          </c:cat>
          <c:val>
            <c:numRef>
              <c:f>List1!$B$2:$B$322</c:f>
              <c:numCache>
                <c:formatCode>General</c:formatCode>
                <c:ptCount val="321"/>
                <c:pt idx="0">
                  <c:v>111.240204681976</c:v>
                </c:pt>
                <c:pt idx="1">
                  <c:v>114.249154556256</c:v>
                </c:pt>
                <c:pt idx="2">
                  <c:v>123.972826496678</c:v>
                </c:pt>
                <c:pt idx="3">
                  <c:v>95.610347819493995</c:v>
                </c:pt>
                <c:pt idx="4">
                  <c:v>100.153399510642</c:v>
                </c:pt>
                <c:pt idx="5">
                  <c:v>49.604436417286998</c:v>
                </c:pt>
                <c:pt idx="6">
                  <c:v>35.726893419021003</c:v>
                </c:pt>
                <c:pt idx="7">
                  <c:v>117.82108395397201</c:v>
                </c:pt>
                <c:pt idx="8">
                  <c:v>125.276634379924</c:v>
                </c:pt>
                <c:pt idx="9">
                  <c:v>116.33431462659701</c:v>
                </c:pt>
                <c:pt idx="10">
                  <c:v>106.06809208886099</c:v>
                </c:pt>
                <c:pt idx="11">
                  <c:v>106.959332201734</c:v>
                </c:pt>
                <c:pt idx="12">
                  <c:v>52.702028328506003</c:v>
                </c:pt>
                <c:pt idx="13">
                  <c:v>26.658435290156</c:v>
                </c:pt>
                <c:pt idx="14">
                  <c:v>127.423318467279</c:v>
                </c:pt>
                <c:pt idx="15">
                  <c:v>132.78376977564901</c:v>
                </c:pt>
                <c:pt idx="16">
                  <c:v>128.52164548345399</c:v>
                </c:pt>
                <c:pt idx="17">
                  <c:v>135.30877146977801</c:v>
                </c:pt>
                <c:pt idx="18">
                  <c:v>134.650393717751</c:v>
                </c:pt>
                <c:pt idx="19">
                  <c:v>67.597164163768994</c:v>
                </c:pt>
                <c:pt idx="20">
                  <c:v>38.528535535789999</c:v>
                </c:pt>
                <c:pt idx="21">
                  <c:v>151.804977868724</c:v>
                </c:pt>
                <c:pt idx="22">
                  <c:v>185.095812633073</c:v>
                </c:pt>
                <c:pt idx="23">
                  <c:v>162.73817107777799</c:v>
                </c:pt>
                <c:pt idx="24">
                  <c:v>175.83091910007599</c:v>
                </c:pt>
                <c:pt idx="25">
                  <c:v>184.913906966691</c:v>
                </c:pt>
                <c:pt idx="26">
                  <c:v>99.285146942016993</c:v>
                </c:pt>
                <c:pt idx="27">
                  <c:v>48.170426970622003</c:v>
                </c:pt>
                <c:pt idx="28">
                  <c:v>177.98149480074599</c:v>
                </c:pt>
                <c:pt idx="29">
                  <c:v>205.57135295493401</c:v>
                </c:pt>
                <c:pt idx="30">
                  <c:v>183.615994441894</c:v>
                </c:pt>
                <c:pt idx="31">
                  <c:v>168.351221954501</c:v>
                </c:pt>
                <c:pt idx="32">
                  <c:v>160.86298258894701</c:v>
                </c:pt>
                <c:pt idx="33">
                  <c:v>82.043773508696006</c:v>
                </c:pt>
                <c:pt idx="34">
                  <c:v>45.459137286594</c:v>
                </c:pt>
                <c:pt idx="35">
                  <c:v>145.400518108396</c:v>
                </c:pt>
                <c:pt idx="36">
                  <c:v>166.201090534847</c:v>
                </c:pt>
                <c:pt idx="37">
                  <c:v>165.79058977753201</c:v>
                </c:pt>
                <c:pt idx="38">
                  <c:v>122.769948501237</c:v>
                </c:pt>
                <c:pt idx="39">
                  <c:v>158.04055723929801</c:v>
                </c:pt>
                <c:pt idx="40">
                  <c:v>74.801126570009998</c:v>
                </c:pt>
                <c:pt idx="41">
                  <c:v>39.682023392878001</c:v>
                </c:pt>
                <c:pt idx="42">
                  <c:v>138.392944571014</c:v>
                </c:pt>
                <c:pt idx="43">
                  <c:v>154.00444319202001</c:v>
                </c:pt>
                <c:pt idx="44">
                  <c:v>123.744454537077</c:v>
                </c:pt>
                <c:pt idx="45">
                  <c:v>112.992857001262</c:v>
                </c:pt>
                <c:pt idx="46">
                  <c:v>100.36156750146201</c:v>
                </c:pt>
                <c:pt idx="47">
                  <c:v>38.549988700865001</c:v>
                </c:pt>
                <c:pt idx="48">
                  <c:v>28.582633723518999</c:v>
                </c:pt>
                <c:pt idx="49">
                  <c:v>119.618823592306</c:v>
                </c:pt>
                <c:pt idx="50">
                  <c:v>98.723312805152005</c:v>
                </c:pt>
                <c:pt idx="51">
                  <c:v>87.122133073992998</c:v>
                </c:pt>
                <c:pt idx="52">
                  <c:v>79.006695136320005</c:v>
                </c:pt>
                <c:pt idx="53">
                  <c:v>80.454948666991996</c:v>
                </c:pt>
                <c:pt idx="54">
                  <c:v>37.172162180766001</c:v>
                </c:pt>
                <c:pt idx="55">
                  <c:v>15.165510870913</c:v>
                </c:pt>
                <c:pt idx="56">
                  <c:v>88.377951440838004</c:v>
                </c:pt>
                <c:pt idx="57">
                  <c:v>96.249095469267004</c:v>
                </c:pt>
                <c:pt idx="58">
                  <c:v>68.196348653832004</c:v>
                </c:pt>
                <c:pt idx="59">
                  <c:v>61.797591331090999</c:v>
                </c:pt>
                <c:pt idx="60">
                  <c:v>35.020903101538003</c:v>
                </c:pt>
                <c:pt idx="61">
                  <c:v>23.379507861358999</c:v>
                </c:pt>
                <c:pt idx="62">
                  <c:v>31.442401907017999</c:v>
                </c:pt>
                <c:pt idx="63">
                  <c:v>26.631158455392001</c:v>
                </c:pt>
                <c:pt idx="64">
                  <c:v>90.589882382888007</c:v>
                </c:pt>
                <c:pt idx="65">
                  <c:v>68.272330741513002</c:v>
                </c:pt>
                <c:pt idx="66">
                  <c:v>59.239427300913</c:v>
                </c:pt>
                <c:pt idx="67">
                  <c:v>47.767832671630998</c:v>
                </c:pt>
                <c:pt idx="68">
                  <c:v>21.195588177571</c:v>
                </c:pt>
                <c:pt idx="69">
                  <c:v>10.216832624704001</c:v>
                </c:pt>
                <c:pt idx="70">
                  <c:v>38.218690532114998</c:v>
                </c:pt>
                <c:pt idx="71">
                  <c:v>46.819880690028</c:v>
                </c:pt>
                <c:pt idx="72">
                  <c:v>45.878699994264998</c:v>
                </c:pt>
                <c:pt idx="73">
                  <c:v>31.704976847023001</c:v>
                </c:pt>
                <c:pt idx="74">
                  <c:v>37.765618181207003</c:v>
                </c:pt>
                <c:pt idx="75">
                  <c:v>11.793346867602001</c:v>
                </c:pt>
                <c:pt idx="76">
                  <c:v>9.2903051442950009</c:v>
                </c:pt>
                <c:pt idx="77">
                  <c:v>46.547842719070999</c:v>
                </c:pt>
                <c:pt idx="78">
                  <c:v>42.224635058510998</c:v>
                </c:pt>
                <c:pt idx="79">
                  <c:v>41.912978179055003</c:v>
                </c:pt>
                <c:pt idx="80">
                  <c:v>20.397484901426001</c:v>
                </c:pt>
                <c:pt idx="81">
                  <c:v>23.461892472342001</c:v>
                </c:pt>
                <c:pt idx="82">
                  <c:v>11.804552925258999</c:v>
                </c:pt>
                <c:pt idx="83">
                  <c:v>5.464281811227</c:v>
                </c:pt>
                <c:pt idx="84">
                  <c:v>22.075055187636998</c:v>
                </c:pt>
                <c:pt idx="85">
                  <c:v>25.120719010801</c:v>
                </c:pt>
                <c:pt idx="86">
                  <c:v>21.656026966460999</c:v>
                </c:pt>
                <c:pt idx="87">
                  <c:v>34.271679217082003</c:v>
                </c:pt>
                <c:pt idx="88">
                  <c:v>29.909211072196001</c:v>
                </c:pt>
                <c:pt idx="89">
                  <c:v>9.6680943219280007</c:v>
                </c:pt>
                <c:pt idx="90">
                  <c:v>6.7828142865440002</c:v>
                </c:pt>
                <c:pt idx="91">
                  <c:v>26.346347127760001</c:v>
                </c:pt>
                <c:pt idx="92">
                  <c:v>22.593320235756</c:v>
                </c:pt>
                <c:pt idx="93">
                  <c:v>18.772848532752999</c:v>
                </c:pt>
                <c:pt idx="94">
                  <c:v>17.900473368073001</c:v>
                </c:pt>
                <c:pt idx="95">
                  <c:v>28.007842195814</c:v>
                </c:pt>
                <c:pt idx="96">
                  <c:v>10.019236934915</c:v>
                </c:pt>
                <c:pt idx="97">
                  <c:v>6.0213154567159997</c:v>
                </c:pt>
                <c:pt idx="98">
                  <c:v>17.113634533300999</c:v>
                </c:pt>
                <c:pt idx="99">
                  <c:v>33.355570380252999</c:v>
                </c:pt>
                <c:pt idx="100">
                  <c:v>9.1439253855680001</c:v>
                </c:pt>
                <c:pt idx="101">
                  <c:v>19.389140040615001</c:v>
                </c:pt>
                <c:pt idx="102">
                  <c:v>16.398819285011001</c:v>
                </c:pt>
                <c:pt idx="103">
                  <c:v>6.1539092708640002</c:v>
                </c:pt>
                <c:pt idx="104">
                  <c:v>3.0791653409139998</c:v>
                </c:pt>
                <c:pt idx="105">
                  <c:v>10.288065843621</c:v>
                </c:pt>
                <c:pt idx="106">
                  <c:v>9.278541825604</c:v>
                </c:pt>
                <c:pt idx="107">
                  <c:v>7.2359648125360003</c:v>
                </c:pt>
                <c:pt idx="108">
                  <c:v>11.406410402645999</c:v>
                </c:pt>
                <c:pt idx="109">
                  <c:v>7.28741567419</c:v>
                </c:pt>
                <c:pt idx="110">
                  <c:v>4.1660591163780003</c:v>
                </c:pt>
                <c:pt idx="111">
                  <c:v>1.0426876316389999</c:v>
                </c:pt>
                <c:pt idx="112">
                  <c:v>6.2695924764889996</c:v>
                </c:pt>
                <c:pt idx="113">
                  <c:v>6.2826567261069997</c:v>
                </c:pt>
                <c:pt idx="114">
                  <c:v>13.660771518342001</c:v>
                </c:pt>
                <c:pt idx="115">
                  <c:v>3.1636225587369999</c:v>
                </c:pt>
                <c:pt idx="116">
                  <c:v>5.2916212469169999</c:v>
                </c:pt>
                <c:pt idx="117">
                  <c:v>1.063399902167</c:v>
                </c:pt>
                <c:pt idx="118">
                  <c:v>1.064294000574</c:v>
                </c:pt>
                <c:pt idx="119">
                  <c:v>4.2736412491850002</c:v>
                </c:pt>
                <c:pt idx="120">
                  <c:v>4.30667858181</c:v>
                </c:pt>
                <c:pt idx="121">
                  <c:v>1.0838815967740001</c:v>
                </c:pt>
                <c:pt idx="122">
                  <c:v>6.5679288036510002</c:v>
                </c:pt>
                <c:pt idx="123">
                  <c:v>3.3134160214700001</c:v>
                </c:pt>
                <c:pt idx="124">
                  <c:v>1.106610893477</c:v>
                </c:pt>
                <c:pt idx="125">
                  <c:v>1.1079718575140001</c:v>
                </c:pt>
                <c:pt idx="126">
                  <c:v>2.2318439494710001</c:v>
                </c:pt>
                <c:pt idx="127">
                  <c:v>1.1241386287749999</c:v>
                </c:pt>
                <c:pt idx="128">
                  <c:v>3.3958547932490002</c:v>
                </c:pt>
                <c:pt idx="129">
                  <c:v>4.5698095531860004</c:v>
                </c:pt>
                <c:pt idx="131">
                  <c:v>2.31682594845</c:v>
                </c:pt>
                <c:pt idx="132">
                  <c:v>1.1616290686049999</c:v>
                </c:pt>
                <c:pt idx="133">
                  <c:v>2.33778681722</c:v>
                </c:pt>
                <c:pt idx="135">
                  <c:v>1.1847920097619999</c:v>
                </c:pt>
                <c:pt idx="136">
                  <c:v>4.7761764319570004</c:v>
                </c:pt>
                <c:pt idx="137">
                  <c:v>4.8239848526870004</c:v>
                </c:pt>
                <c:pt idx="138">
                  <c:v>1.208356996991</c:v>
                </c:pt>
                <c:pt idx="139">
                  <c:v>1.2103899876540001</c:v>
                </c:pt>
                <c:pt idx="141">
                  <c:v>1.2244847980210001</c:v>
                </c:pt>
                <c:pt idx="142">
                  <c:v>4.9289006087190002</c:v>
                </c:pt>
                <c:pt idx="143">
                  <c:v>3.7223614661140001</c:v>
                </c:pt>
                <c:pt idx="145">
                  <c:v>1.2554927809159999</c:v>
                </c:pt>
                <c:pt idx="146">
                  <c:v>3.7723986167870001</c:v>
                </c:pt>
                <c:pt idx="147">
                  <c:v>0</c:v>
                </c:pt>
                <c:pt idx="148">
                  <c:v>3.8189803322509999</c:v>
                </c:pt>
                <c:pt idx="150">
                  <c:v>1.291072235491</c:v>
                </c:pt>
                <c:pt idx="151">
                  <c:v>2.6020321871380001</c:v>
                </c:pt>
                <c:pt idx="153">
                  <c:v>1.30696744344</c:v>
                </c:pt>
                <c:pt idx="154">
                  <c:v>2.6292610461820001</c:v>
                </c:pt>
                <c:pt idx="155">
                  <c:v>1.323328966347</c:v>
                </c:pt>
                <c:pt idx="156">
                  <c:v>0</c:v>
                </c:pt>
                <c:pt idx="157">
                  <c:v>1.34226386223</c:v>
                </c:pt>
                <c:pt idx="158">
                  <c:v>6.7652590417680001</c:v>
                </c:pt>
                <c:pt idx="159">
                  <c:v>1.3560609142560001</c:v>
                </c:pt>
                <c:pt idx="161">
                  <c:v>2.7335101003190001</c:v>
                </c:pt>
                <c:pt idx="162">
                  <c:v>4.1287623346769999</c:v>
                </c:pt>
                <c:pt idx="163">
                  <c:v>4.1597337770380003</c:v>
                </c:pt>
                <c:pt idx="164">
                  <c:v>5.5912776069329997</c:v>
                </c:pt>
                <c:pt idx="165">
                  <c:v>4.225471140032</c:v>
                </c:pt>
                <c:pt idx="166">
                  <c:v>4.2347162034350001</c:v>
                </c:pt>
                <c:pt idx="167">
                  <c:v>4.240522432363</c:v>
                </c:pt>
                <c:pt idx="168">
                  <c:v>8.4918478260859995</c:v>
                </c:pt>
                <c:pt idx="169">
                  <c:v>4.252604720391</c:v>
                </c:pt>
                <c:pt idx="170">
                  <c:v>7.135721421435</c:v>
                </c:pt>
                <c:pt idx="171">
                  <c:v>2.8714591319570002</c:v>
                </c:pt>
                <c:pt idx="172">
                  <c:v>4.3348842585899998</c:v>
                </c:pt>
                <c:pt idx="173">
                  <c:v>0</c:v>
                </c:pt>
                <c:pt idx="174">
                  <c:v>5.8028201706019997</c:v>
                </c:pt>
                <c:pt idx="175">
                  <c:v>5.8369449430160003</c:v>
                </c:pt>
                <c:pt idx="176">
                  <c:v>2.9346167390529998</c:v>
                </c:pt>
                <c:pt idx="177">
                  <c:v>0</c:v>
                </c:pt>
                <c:pt idx="178">
                  <c:v>10.408612383274001</c:v>
                </c:pt>
                <c:pt idx="179">
                  <c:v>2.9944154152500002</c:v>
                </c:pt>
                <c:pt idx="180">
                  <c:v>1.5000825045370001</c:v>
                </c:pt>
                <c:pt idx="181">
                  <c:v>0</c:v>
                </c:pt>
                <c:pt idx="182">
                  <c:v>0</c:v>
                </c:pt>
                <c:pt idx="183">
                  <c:v>3.0504079920680001</c:v>
                </c:pt>
                <c:pt idx="184">
                  <c:v>10.753183710462</c:v>
                </c:pt>
                <c:pt idx="185">
                  <c:v>0</c:v>
                </c:pt>
                <c:pt idx="186">
                  <c:v>7.7864640109629999</c:v>
                </c:pt>
                <c:pt idx="187">
                  <c:v>1.5621094726310001</c:v>
                </c:pt>
                <c:pt idx="188">
                  <c:v>1.5656557749210001</c:v>
                </c:pt>
                <c:pt idx="189">
                  <c:v>14.161408588106999</c:v>
                </c:pt>
                <c:pt idx="190">
                  <c:v>1.582979801177</c:v>
                </c:pt>
                <c:pt idx="191">
                  <c:v>4.7788202685690004</c:v>
                </c:pt>
                <c:pt idx="192">
                  <c:v>3.2027671908520001</c:v>
                </c:pt>
                <c:pt idx="193">
                  <c:v>9.6612134484090006</c:v>
                </c:pt>
                <c:pt idx="194">
                  <c:v>6.4550486549289996</c:v>
                </c:pt>
                <c:pt idx="195">
                  <c:v>1.6167625945799999</c:v>
                </c:pt>
                <c:pt idx="196">
                  <c:v>6.4961429151440004</c:v>
                </c:pt>
                <c:pt idx="197">
                  <c:v>4.8963603721229996</c:v>
                </c:pt>
                <c:pt idx="198">
                  <c:v>4.9228749589760001</c:v>
                </c:pt>
                <c:pt idx="199">
                  <c:v>0</c:v>
                </c:pt>
                <c:pt idx="200">
                  <c:v>4.9779311718040002</c:v>
                </c:pt>
                <c:pt idx="201">
                  <c:v>1.6631186801490001</c:v>
                </c:pt>
                <c:pt idx="202">
                  <c:v>1.666194578202</c:v>
                </c:pt>
                <c:pt idx="203">
                  <c:v>6.7076954035509999</c:v>
                </c:pt>
                <c:pt idx="204">
                  <c:v>3.3714304979600001</c:v>
                </c:pt>
                <c:pt idx="205">
                  <c:v>3.3924179458900001</c:v>
                </c:pt>
                <c:pt idx="206">
                  <c:v>6.8216313931470003</c:v>
                </c:pt>
                <c:pt idx="207">
                  <c:v>1.7162962327289999</c:v>
                </c:pt>
                <c:pt idx="208">
                  <c:v>3.4382574911030002</c:v>
                </c:pt>
                <c:pt idx="209">
                  <c:v>3.4430519212220001</c:v>
                </c:pt>
                <c:pt idx="210">
                  <c:v>0</c:v>
                </c:pt>
                <c:pt idx="211">
                  <c:v>1.73919092838</c:v>
                </c:pt>
                <c:pt idx="212">
                  <c:v>3.4969925863750002</c:v>
                </c:pt>
                <c:pt idx="213">
                  <c:v>14.060742407198999</c:v>
                </c:pt>
                <c:pt idx="214">
                  <c:v>8.8476783691950001</c:v>
                </c:pt>
                <c:pt idx="215">
                  <c:v>10.629628317329001</c:v>
                </c:pt>
                <c:pt idx="216">
                  <c:v>1.773238287761</c:v>
                </c:pt>
                <c:pt idx="217">
                  <c:v>7.1287269875780002</c:v>
                </c:pt>
                <c:pt idx="218">
                  <c:v>8.9517500671380006</c:v>
                </c:pt>
                <c:pt idx="219">
                  <c:v>1.797882094892</c:v>
                </c:pt>
                <c:pt idx="220">
                  <c:v>5.414966968701</c:v>
                </c:pt>
                <c:pt idx="221">
                  <c:v>1.812710727622</c:v>
                </c:pt>
                <c:pt idx="222">
                  <c:v>1.813993143105</c:v>
                </c:pt>
                <c:pt idx="223">
                  <c:v>3.6303570456149998</c:v>
                </c:pt>
                <c:pt idx="224">
                  <c:v>3.6394075044580001</c:v>
                </c:pt>
                <c:pt idx="225">
                  <c:v>7.2990036859960004</c:v>
                </c:pt>
                <c:pt idx="226">
                  <c:v>5.4850623468749999</c:v>
                </c:pt>
                <c:pt idx="227">
                  <c:v>10.994649270688001</c:v>
                </c:pt>
                <c:pt idx="228">
                  <c:v>16.530139955184001</c:v>
                </c:pt>
                <c:pt idx="229">
                  <c:v>3.6741067327999999</c:v>
                </c:pt>
                <c:pt idx="230">
                  <c:v>9.1845919285799997</c:v>
                </c:pt>
                <c:pt idx="231">
                  <c:v>18.406375968635</c:v>
                </c:pt>
                <c:pt idx="232">
                  <c:v>16.590473381507</c:v>
                </c:pt>
                <c:pt idx="233">
                  <c:v>16.615589114942001</c:v>
                </c:pt>
                <c:pt idx="234">
                  <c:v>11.094059131334999</c:v>
                </c:pt>
                <c:pt idx="235">
                  <c:v>16.675931072817999</c:v>
                </c:pt>
                <c:pt idx="236">
                  <c:v>11.117287381878</c:v>
                </c:pt>
                <c:pt idx="237">
                  <c:v>11.116463482417</c:v>
                </c:pt>
                <c:pt idx="238">
                  <c:v>11.129660545353</c:v>
                </c:pt>
                <c:pt idx="239">
                  <c:v>16.720543975030001</c:v>
                </c:pt>
                <c:pt idx="240">
                  <c:v>26.045057950253</c:v>
                </c:pt>
                <c:pt idx="241">
                  <c:v>35.402187482530998</c:v>
                </c:pt>
                <c:pt idx="242">
                  <c:v>31.744253356487</c:v>
                </c:pt>
                <c:pt idx="243">
                  <c:v>13.076290816707001</c:v>
                </c:pt>
                <c:pt idx="244">
                  <c:v>11.212019284673</c:v>
                </c:pt>
                <c:pt idx="245">
                  <c:v>18.723085564501002</c:v>
                </c:pt>
                <c:pt idx="246">
                  <c:v>30.003000300029999</c:v>
                </c:pt>
                <c:pt idx="247">
                  <c:v>24.409478388223</c:v>
                </c:pt>
                <c:pt idx="248">
                  <c:v>18.812197829072002</c:v>
                </c:pt>
                <c:pt idx="249">
                  <c:v>16.971845593920001</c:v>
                </c:pt>
                <c:pt idx="250">
                  <c:v>13.20630129233</c:v>
                </c:pt>
                <c:pt idx="251">
                  <c:v>9.4364549126180002</c:v>
                </c:pt>
                <c:pt idx="252">
                  <c:v>34.025821818113002</c:v>
                </c:pt>
                <c:pt idx="253">
                  <c:v>51.046452271566999</c:v>
                </c:pt>
                <c:pt idx="254">
                  <c:v>28.418240721444</c:v>
                </c:pt>
                <c:pt idx="255">
                  <c:v>45.537340619307002</c:v>
                </c:pt>
                <c:pt idx="256">
                  <c:v>22.805450502669999</c:v>
                </c:pt>
                <c:pt idx="257">
                  <c:v>17.109940875648</c:v>
                </c:pt>
                <c:pt idx="258">
                  <c:v>28.523075167809999</c:v>
                </c:pt>
                <c:pt idx="259">
                  <c:v>97.116959287046996</c:v>
                </c:pt>
                <c:pt idx="260">
                  <c:v>82.004729575100995</c:v>
                </c:pt>
                <c:pt idx="261">
                  <c:v>80.200118390650005</c:v>
                </c:pt>
                <c:pt idx="262">
                  <c:v>108.99078358637</c:v>
                </c:pt>
                <c:pt idx="263">
                  <c:v>97.701149425286999</c:v>
                </c:pt>
                <c:pt idx="264">
                  <c:v>63.240197769345002</c:v>
                </c:pt>
                <c:pt idx="265">
                  <c:v>36.417303969485999</c:v>
                </c:pt>
                <c:pt idx="266">
                  <c:v>120.93523246439101</c:v>
                </c:pt>
                <c:pt idx="267">
                  <c:v>144.14760714972101</c:v>
                </c:pt>
                <c:pt idx="268">
                  <c:v>152.00200103900099</c:v>
                </c:pt>
                <c:pt idx="269">
                  <c:v>82.858023739787001</c:v>
                </c:pt>
                <c:pt idx="270">
                  <c:v>169.930096937396</c:v>
                </c:pt>
                <c:pt idx="271">
                  <c:v>129.43358318522499</c:v>
                </c:pt>
                <c:pt idx="272">
                  <c:v>67.630236512598003</c:v>
                </c:pt>
                <c:pt idx="273">
                  <c:v>228.30608493760201</c:v>
                </c:pt>
                <c:pt idx="274">
                  <c:v>238.16439151902401</c:v>
                </c:pt>
                <c:pt idx="275">
                  <c:v>232.69342641070301</c:v>
                </c:pt>
                <c:pt idx="276">
                  <c:v>190.40957488147899</c:v>
                </c:pt>
                <c:pt idx="277">
                  <c:v>204.55475248874899</c:v>
                </c:pt>
                <c:pt idx="278">
                  <c:v>107.229197535678</c:v>
                </c:pt>
                <c:pt idx="279">
                  <c:v>50.723789457255002</c:v>
                </c:pt>
                <c:pt idx="280">
                  <c:v>234.544495045247</c:v>
                </c:pt>
                <c:pt idx="281">
                  <c:v>239.12191297530299</c:v>
                </c:pt>
                <c:pt idx="282">
                  <c:v>281.16397955170999</c:v>
                </c:pt>
                <c:pt idx="283">
                  <c:v>216.46725440806</c:v>
                </c:pt>
                <c:pt idx="284">
                  <c:v>315.73131265293199</c:v>
                </c:pt>
                <c:pt idx="285">
                  <c:v>179.77084156459799</c:v>
                </c:pt>
                <c:pt idx="286">
                  <c:v>86.994345367551006</c:v>
                </c:pt>
                <c:pt idx="287">
                  <c:v>325.23549826474903</c:v>
                </c:pt>
                <c:pt idx="288">
                  <c:v>409.648616938771</c:v>
                </c:pt>
                <c:pt idx="289">
                  <c:v>257.24370351167499</c:v>
                </c:pt>
                <c:pt idx="290">
                  <c:v>322.15463422442701</c:v>
                </c:pt>
                <c:pt idx="291">
                  <c:v>582.83256627208198</c:v>
                </c:pt>
                <c:pt idx="292">
                  <c:v>305.871936249849</c:v>
                </c:pt>
                <c:pt idx="293">
                  <c:v>159.113796576032</c:v>
                </c:pt>
                <c:pt idx="294">
                  <c:v>377.84647713725701</c:v>
                </c:pt>
                <c:pt idx="295">
                  <c:v>469.87341772151802</c:v>
                </c:pt>
                <c:pt idx="296">
                  <c:v>316.86064225214699</c:v>
                </c:pt>
                <c:pt idx="297">
                  <c:v>485.07082441659003</c:v>
                </c:pt>
                <c:pt idx="298">
                  <c:v>327.667417571165</c:v>
                </c:pt>
                <c:pt idx="299">
                  <c:v>192.765154622262</c:v>
                </c:pt>
                <c:pt idx="300">
                  <c:v>135.48466559921101</c:v>
                </c:pt>
                <c:pt idx="301">
                  <c:v>402.03698740284102</c:v>
                </c:pt>
                <c:pt idx="302">
                  <c:v>383.31641215838198</c:v>
                </c:pt>
                <c:pt idx="303">
                  <c:v>348.59834415786497</c:v>
                </c:pt>
                <c:pt idx="304">
                  <c:v>268.91807379612197</c:v>
                </c:pt>
                <c:pt idx="305">
                  <c:v>279.06000839278198</c:v>
                </c:pt>
                <c:pt idx="306">
                  <c:v>180.73681777105199</c:v>
                </c:pt>
                <c:pt idx="307">
                  <c:v>101.001599191987</c:v>
                </c:pt>
                <c:pt idx="308">
                  <c:v>334.24298195510897</c:v>
                </c:pt>
                <c:pt idx="309">
                  <c:v>318.93857243094902</c:v>
                </c:pt>
                <c:pt idx="310">
                  <c:v>265.18391787852801</c:v>
                </c:pt>
                <c:pt idx="311">
                  <c:v>238.904911540613</c:v>
                </c:pt>
                <c:pt idx="312">
                  <c:v>216.83037359873299</c:v>
                </c:pt>
                <c:pt idx="313">
                  <c:v>145.52246910362501</c:v>
                </c:pt>
                <c:pt idx="314">
                  <c:v>100.02609376359</c:v>
                </c:pt>
                <c:pt idx="315">
                  <c:v>229.302701404206</c:v>
                </c:pt>
                <c:pt idx="316">
                  <c:v>309.27835051546299</c:v>
                </c:pt>
                <c:pt idx="317">
                  <c:v>193.92229886070601</c:v>
                </c:pt>
                <c:pt idx="318">
                  <c:v>152.80023030759301</c:v>
                </c:pt>
                <c:pt idx="319">
                  <c:v>155.947156192216</c:v>
                </c:pt>
                <c:pt idx="320">
                  <c:v>107.12133723135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200-4031-9260-04D76AD8008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22</c:f>
              <c:numCache>
                <c:formatCode>m/d/yyyy</c:formatCode>
                <c:ptCount val="32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</c:numCache>
            </c:numRef>
          </c:cat>
          <c:val>
            <c:numRef>
              <c:f>List1!$C$2:$C$322</c:f>
              <c:numCache>
                <c:formatCode>General</c:formatCode>
                <c:ptCount val="3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2.862563508907</c:v>
                </c:pt>
                <c:pt idx="9">
                  <c:v>10.298130889243</c:v>
                </c:pt>
                <c:pt idx="10">
                  <c:v>12.493232832215</c:v>
                </c:pt>
                <c:pt idx="11">
                  <c:v>20.282604286390001</c:v>
                </c:pt>
                <c:pt idx="12">
                  <c:v>3.3116969134979999</c:v>
                </c:pt>
                <c:pt idx="13">
                  <c:v>0</c:v>
                </c:pt>
                <c:pt idx="14">
                  <c:v>8.3707692736960002</c:v>
                </c:pt>
                <c:pt idx="15">
                  <c:v>14.286394590218</c:v>
                </c:pt>
                <c:pt idx="16">
                  <c:v>4.191027011169</c:v>
                </c:pt>
                <c:pt idx="17">
                  <c:v>18.555974095860002</c:v>
                </c:pt>
                <c:pt idx="18">
                  <c:v>11.886164504516</c:v>
                </c:pt>
                <c:pt idx="19">
                  <c:v>6.7080328693610003</c:v>
                </c:pt>
                <c:pt idx="20">
                  <c:v>1.65942053035</c:v>
                </c:pt>
                <c:pt idx="21">
                  <c:v>13.91100051007</c:v>
                </c:pt>
                <c:pt idx="22">
                  <c:v>20.468135499056999</c:v>
                </c:pt>
                <c:pt idx="23">
                  <c:v>19.486123096623</c:v>
                </c:pt>
                <c:pt idx="24">
                  <c:v>14.661583984218</c:v>
                </c:pt>
                <c:pt idx="25">
                  <c:v>26.945531532686999</c:v>
                </c:pt>
                <c:pt idx="26">
                  <c:v>11.493959285840999</c:v>
                </c:pt>
                <c:pt idx="27">
                  <c:v>14.029717492506</c:v>
                </c:pt>
                <c:pt idx="28">
                  <c:v>24.864488537469999</c:v>
                </c:pt>
                <c:pt idx="29">
                  <c:v>15.846121966381</c:v>
                </c:pt>
                <c:pt idx="30">
                  <c:v>22.802827550616001</c:v>
                </c:pt>
                <c:pt idx="31">
                  <c:v>12.976594941487001</c:v>
                </c:pt>
                <c:pt idx="32">
                  <c:v>18.592328340518002</c:v>
                </c:pt>
                <c:pt idx="33">
                  <c:v>10.447016216090001</c:v>
                </c:pt>
                <c:pt idx="34">
                  <c:v>4.638165141869</c:v>
                </c:pt>
                <c:pt idx="35">
                  <c:v>16.063519746655</c:v>
                </c:pt>
                <c:pt idx="36">
                  <c:v>19.266294184978999</c:v>
                </c:pt>
                <c:pt idx="37">
                  <c:v>6.7355186349340004</c:v>
                </c:pt>
                <c:pt idx="38">
                  <c:v>16.673892019875002</c:v>
                </c:pt>
                <c:pt idx="39">
                  <c:v>17.584736448762001</c:v>
                </c:pt>
                <c:pt idx="40">
                  <c:v>7.6898570785129996</c:v>
                </c:pt>
                <c:pt idx="41">
                  <c:v>8.7842586085729994</c:v>
                </c:pt>
                <c:pt idx="42">
                  <c:v>21.826674378758</c:v>
                </c:pt>
                <c:pt idx="43">
                  <c:v>11.924119241192001</c:v>
                </c:pt>
                <c:pt idx="44">
                  <c:v>8.6076112802739999</c:v>
                </c:pt>
                <c:pt idx="45">
                  <c:v>13.895717981059001</c:v>
                </c:pt>
                <c:pt idx="46">
                  <c:v>16.938565938661</c:v>
                </c:pt>
                <c:pt idx="47">
                  <c:v>3.1751071598660001</c:v>
                </c:pt>
                <c:pt idx="48">
                  <c:v>4.2318190474169999</c:v>
                </c:pt>
                <c:pt idx="49">
                  <c:v>14.683517751324</c:v>
                </c:pt>
                <c:pt idx="50">
                  <c:v>14.566642388929001</c:v>
                </c:pt>
                <c:pt idx="51">
                  <c:v>16.500288755052999</c:v>
                </c:pt>
                <c:pt idx="52">
                  <c:v>10.179463949427999</c:v>
                </c:pt>
                <c:pt idx="53">
                  <c:v>8.0272122495250002</c:v>
                </c:pt>
                <c:pt idx="54">
                  <c:v>8.0129810292669994</c:v>
                </c:pt>
                <c:pt idx="55">
                  <c:v>3.9973617412500002</c:v>
                </c:pt>
                <c:pt idx="56">
                  <c:v>9.8565866640379998</c:v>
                </c:pt>
                <c:pt idx="57">
                  <c:v>5.8342489862990004</c:v>
                </c:pt>
                <c:pt idx="58">
                  <c:v>11.490400727725</c:v>
                </c:pt>
                <c:pt idx="59">
                  <c:v>4.7131572497779999</c:v>
                </c:pt>
                <c:pt idx="60">
                  <c:v>2.771746662355</c:v>
                </c:pt>
                <c:pt idx="61">
                  <c:v>8.2973015331560003</c:v>
                </c:pt>
                <c:pt idx="62">
                  <c:v>0.92056449014499997</c:v>
                </c:pt>
                <c:pt idx="63">
                  <c:v>1.8140260494139999</c:v>
                </c:pt>
                <c:pt idx="64">
                  <c:v>8.0422486127119992</c:v>
                </c:pt>
                <c:pt idx="65">
                  <c:v>6.1566606272750004</c:v>
                </c:pt>
                <c:pt idx="66">
                  <c:v>8.651417102121</c:v>
                </c:pt>
                <c:pt idx="67">
                  <c:v>4.2404145429250004</c:v>
                </c:pt>
                <c:pt idx="68">
                  <c:v>4.2274360600290004</c:v>
                </c:pt>
                <c:pt idx="69">
                  <c:v>1.6882623559700001</c:v>
                </c:pt>
                <c:pt idx="70">
                  <c:v>7.4901379849860001</c:v>
                </c:pt>
                <c:pt idx="71">
                  <c:v>4.1011171443099999</c:v>
                </c:pt>
                <c:pt idx="72">
                  <c:v>4.0393921522680003</c:v>
                </c:pt>
                <c:pt idx="73">
                  <c:v>4.7606579229239996</c:v>
                </c:pt>
                <c:pt idx="74">
                  <c:v>3.943933047792</c:v>
                </c:pt>
                <c:pt idx="75">
                  <c:v>4.7144608228299996</c:v>
                </c:pt>
                <c:pt idx="76">
                  <c:v>3.1342804083960001</c:v>
                </c:pt>
                <c:pt idx="77">
                  <c:v>5.4725123522420001</c:v>
                </c:pt>
                <c:pt idx="78">
                  <c:v>5.3817589125770002</c:v>
                </c:pt>
                <c:pt idx="79">
                  <c:v>9.1159087801389997</c:v>
                </c:pt>
                <c:pt idx="80">
                  <c:v>2.9974222168929998</c:v>
                </c:pt>
                <c:pt idx="81">
                  <c:v>3.69183513741</c:v>
                </c:pt>
                <c:pt idx="82">
                  <c:v>0.73437075441900002</c:v>
                </c:pt>
                <c:pt idx="83">
                  <c:v>0.73239147789199999</c:v>
                </c:pt>
                <c:pt idx="84">
                  <c:v>5.0846595820399996</c:v>
                </c:pt>
                <c:pt idx="85">
                  <c:v>5.0376746093999998</c:v>
                </c:pt>
                <c:pt idx="86">
                  <c:v>2.1386714572900001</c:v>
                </c:pt>
                <c:pt idx="87">
                  <c:v>7.0680369234239997</c:v>
                </c:pt>
                <c:pt idx="88">
                  <c:v>4.1980353194699997</c:v>
                </c:pt>
                <c:pt idx="89">
                  <c:v>1.396940699867</c:v>
                </c:pt>
                <c:pt idx="90">
                  <c:v>2.7896337210920001</c:v>
                </c:pt>
                <c:pt idx="91">
                  <c:v>4.8579062424090003</c:v>
                </c:pt>
                <c:pt idx="92">
                  <c:v>7.5986267209160001</c:v>
                </c:pt>
                <c:pt idx="93">
                  <c:v>5.5043725359330002</c:v>
                </c:pt>
                <c:pt idx="94">
                  <c:v>2.055076037813</c:v>
                </c:pt>
                <c:pt idx="95">
                  <c:v>2.7294438758099999</c:v>
                </c:pt>
                <c:pt idx="96">
                  <c:v>0</c:v>
                </c:pt>
                <c:pt idx="97">
                  <c:v>0</c:v>
                </c:pt>
                <c:pt idx="98">
                  <c:v>2.7183885392730001</c:v>
                </c:pt>
                <c:pt idx="99">
                  <c:v>2.033429582333</c:v>
                </c:pt>
                <c:pt idx="100">
                  <c:v>4.0532598342209996</c:v>
                </c:pt>
                <c:pt idx="101">
                  <c:v>4.0418193576199997</c:v>
                </c:pt>
                <c:pt idx="102">
                  <c:v>1.343544269783</c:v>
                </c:pt>
                <c:pt idx="103">
                  <c:v>1.343048047543</c:v>
                </c:pt>
                <c:pt idx="104">
                  <c:v>0.67126708374699995</c:v>
                </c:pt>
                <c:pt idx="105">
                  <c:v>4.6920978369419997</c:v>
                </c:pt>
                <c:pt idx="106">
                  <c:v>2.008354755784</c:v>
                </c:pt>
                <c:pt idx="107">
                  <c:v>2.0050661337640001</c:v>
                </c:pt>
                <c:pt idx="108">
                  <c:v>2.6682676272429999</c:v>
                </c:pt>
                <c:pt idx="109">
                  <c:v>0.665437824816</c:v>
                </c:pt>
                <c:pt idx="110">
                  <c:v>0.66530943541800003</c:v>
                </c:pt>
                <c:pt idx="111">
                  <c:v>0</c:v>
                </c:pt>
                <c:pt idx="112">
                  <c:v>1.992124467936</c:v>
                </c:pt>
                <c:pt idx="113">
                  <c:v>1.3264534613800001</c:v>
                </c:pt>
                <c:pt idx="114">
                  <c:v>0.66180022898199997</c:v>
                </c:pt>
                <c:pt idx="115">
                  <c:v>1.9811918850379999</c:v>
                </c:pt>
                <c:pt idx="116">
                  <c:v>2.635914332784</c:v>
                </c:pt>
                <c:pt idx="117">
                  <c:v>0.65708634771600005</c:v>
                </c:pt>
                <c:pt idx="118">
                  <c:v>0</c:v>
                </c:pt>
                <c:pt idx="119">
                  <c:v>1.3105988125970001</c:v>
                </c:pt>
                <c:pt idx="120">
                  <c:v>0</c:v>
                </c:pt>
                <c:pt idx="121">
                  <c:v>0</c:v>
                </c:pt>
                <c:pt idx="122">
                  <c:v>1.937608990505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63876947448400001</c:v>
                </c:pt>
                <c:pt idx="127">
                  <c:v>0.63612826890399998</c:v>
                </c:pt>
                <c:pt idx="128">
                  <c:v>0</c:v>
                </c:pt>
                <c:pt idx="129">
                  <c:v>0</c:v>
                </c:pt>
                <c:pt idx="131">
                  <c:v>0.62573132348399996</c:v>
                </c:pt>
                <c:pt idx="132">
                  <c:v>0.62481646016400005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61220116930400004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59874144548099995</c:v>
                </c:pt>
                <c:pt idx="148">
                  <c:v>0</c:v>
                </c:pt>
                <c:pt idx="150">
                  <c:v>0.59311277446199995</c:v>
                </c:pt>
                <c:pt idx="151">
                  <c:v>1.1819632409430001</c:v>
                </c:pt>
                <c:pt idx="153">
                  <c:v>0.58965393210700001</c:v>
                </c:pt>
                <c:pt idx="154">
                  <c:v>1.1761108366849999</c:v>
                </c:pt>
                <c:pt idx="155">
                  <c:v>0</c:v>
                </c:pt>
                <c:pt idx="156">
                  <c:v>0.58440913314499998</c:v>
                </c:pt>
                <c:pt idx="157">
                  <c:v>1.747589782425</c:v>
                </c:pt>
                <c:pt idx="158">
                  <c:v>1.1609412911979999</c:v>
                </c:pt>
                <c:pt idx="159">
                  <c:v>0</c:v>
                </c:pt>
                <c:pt idx="161">
                  <c:v>2.8891379967869999</c:v>
                </c:pt>
                <c:pt idx="162">
                  <c:v>0.57609328102400004</c:v>
                </c:pt>
                <c:pt idx="163">
                  <c:v>2.297015602478</c:v>
                </c:pt>
                <c:pt idx="164">
                  <c:v>0.57229518985799999</c:v>
                </c:pt>
                <c:pt idx="165">
                  <c:v>2.8523834516119999</c:v>
                </c:pt>
                <c:pt idx="166">
                  <c:v>0</c:v>
                </c:pt>
                <c:pt idx="167">
                  <c:v>0.5695571693</c:v>
                </c:pt>
                <c:pt idx="168">
                  <c:v>2.8460675884129998</c:v>
                </c:pt>
                <c:pt idx="169">
                  <c:v>2.8440278259679999</c:v>
                </c:pt>
                <c:pt idx="170">
                  <c:v>1.1344428184090001</c:v>
                </c:pt>
                <c:pt idx="171">
                  <c:v>2.8291264223430002</c:v>
                </c:pt>
                <c:pt idx="172">
                  <c:v>1.6930691392999999</c:v>
                </c:pt>
                <c:pt idx="173">
                  <c:v>0.56378366493200005</c:v>
                </c:pt>
                <c:pt idx="174">
                  <c:v>0</c:v>
                </c:pt>
                <c:pt idx="175">
                  <c:v>2.8102991844509999</c:v>
                </c:pt>
                <c:pt idx="176">
                  <c:v>1.6824725616759999</c:v>
                </c:pt>
                <c:pt idx="177">
                  <c:v>1.1185619767220001</c:v>
                </c:pt>
                <c:pt idx="178">
                  <c:v>0.55791118054</c:v>
                </c:pt>
                <c:pt idx="179">
                  <c:v>1.1128607755519999</c:v>
                </c:pt>
                <c:pt idx="180">
                  <c:v>0.55598489944999996</c:v>
                </c:pt>
                <c:pt idx="181">
                  <c:v>0.55548457696999998</c:v>
                </c:pt>
                <c:pt idx="182">
                  <c:v>1.108266560273</c:v>
                </c:pt>
                <c:pt idx="183">
                  <c:v>2.2108364146859998</c:v>
                </c:pt>
                <c:pt idx="184">
                  <c:v>2.205266175627</c:v>
                </c:pt>
                <c:pt idx="185">
                  <c:v>1.6498020237569999</c:v>
                </c:pt>
                <c:pt idx="186">
                  <c:v>0.54870888798600004</c:v>
                </c:pt>
                <c:pt idx="187">
                  <c:v>0</c:v>
                </c:pt>
                <c:pt idx="188">
                  <c:v>1.0954822312779999</c:v>
                </c:pt>
                <c:pt idx="189">
                  <c:v>1.6404558279920001</c:v>
                </c:pt>
                <c:pt idx="190">
                  <c:v>1.091429008</c:v>
                </c:pt>
                <c:pt idx="191">
                  <c:v>2.178281444854</c:v>
                </c:pt>
                <c:pt idx="192">
                  <c:v>1.087246060092</c:v>
                </c:pt>
                <c:pt idx="193">
                  <c:v>1.6279309540210001</c:v>
                </c:pt>
                <c:pt idx="194">
                  <c:v>0.54227288255899997</c:v>
                </c:pt>
                <c:pt idx="195">
                  <c:v>0.54196429539199997</c:v>
                </c:pt>
                <c:pt idx="196">
                  <c:v>1.6235523325029999</c:v>
                </c:pt>
                <c:pt idx="197">
                  <c:v>0.54032149128700002</c:v>
                </c:pt>
                <c:pt idx="198">
                  <c:v>0</c:v>
                </c:pt>
                <c:pt idx="199">
                  <c:v>1.6156393892880001</c:v>
                </c:pt>
                <c:pt idx="200">
                  <c:v>0.53749858906600001</c:v>
                </c:pt>
                <c:pt idx="201">
                  <c:v>0.53712904525299998</c:v>
                </c:pt>
                <c:pt idx="202">
                  <c:v>1.073681385048</c:v>
                </c:pt>
                <c:pt idx="203">
                  <c:v>2.1430599681750002</c:v>
                </c:pt>
                <c:pt idx="204">
                  <c:v>1.604715724609</c:v>
                </c:pt>
                <c:pt idx="205">
                  <c:v>2.1355429083950002</c:v>
                </c:pt>
                <c:pt idx="206">
                  <c:v>0.53301210470399996</c:v>
                </c:pt>
                <c:pt idx="207">
                  <c:v>1.5959569091629999</c:v>
                </c:pt>
                <c:pt idx="208">
                  <c:v>0.53174518770599999</c:v>
                </c:pt>
                <c:pt idx="209">
                  <c:v>0</c:v>
                </c:pt>
                <c:pt idx="210">
                  <c:v>0.53061657646100002</c:v>
                </c:pt>
                <c:pt idx="211">
                  <c:v>3.1796502384730001</c:v>
                </c:pt>
                <c:pt idx="212">
                  <c:v>2.6451247705349998</c:v>
                </c:pt>
                <c:pt idx="213">
                  <c:v>2.112545881855</c:v>
                </c:pt>
                <c:pt idx="214">
                  <c:v>4.2160515623099997</c:v>
                </c:pt>
                <c:pt idx="215">
                  <c:v>1.580286453257</c:v>
                </c:pt>
                <c:pt idx="216">
                  <c:v>1.0531193394830001</c:v>
                </c:pt>
                <c:pt idx="217">
                  <c:v>1.5771461015570001</c:v>
                </c:pt>
                <c:pt idx="218">
                  <c:v>3.674637129583</c:v>
                </c:pt>
                <c:pt idx="219">
                  <c:v>0.52424364747700003</c:v>
                </c:pt>
                <c:pt idx="220">
                  <c:v>2.0943395238510001</c:v>
                </c:pt>
                <c:pt idx="221">
                  <c:v>2.0915142039950001</c:v>
                </c:pt>
                <c:pt idx="222">
                  <c:v>1.568135486906</c:v>
                </c:pt>
                <c:pt idx="223">
                  <c:v>1.5676602148729999</c:v>
                </c:pt>
                <c:pt idx="224">
                  <c:v>3.6548371770029999</c:v>
                </c:pt>
                <c:pt idx="225">
                  <c:v>3.1298904538340002</c:v>
                </c:pt>
                <c:pt idx="226">
                  <c:v>2.6064744826139998</c:v>
                </c:pt>
                <c:pt idx="227">
                  <c:v>5.2090387239930003</c:v>
                </c:pt>
                <c:pt idx="228">
                  <c:v>1.561507791923</c:v>
                </c:pt>
                <c:pt idx="229">
                  <c:v>1.561247749201</c:v>
                </c:pt>
                <c:pt idx="230">
                  <c:v>2.0814686843030001</c:v>
                </c:pt>
                <c:pt idx="231">
                  <c:v>4.1600798735330002</c:v>
                </c:pt>
                <c:pt idx="232">
                  <c:v>5.1973161059619999</c:v>
                </c:pt>
                <c:pt idx="233">
                  <c:v>4.1556066926039996</c:v>
                </c:pt>
                <c:pt idx="234">
                  <c:v>4.1533629260440001</c:v>
                </c:pt>
                <c:pt idx="235">
                  <c:v>3.1128404669259999</c:v>
                </c:pt>
                <c:pt idx="236">
                  <c:v>2.0749901437960001</c:v>
                </c:pt>
                <c:pt idx="237">
                  <c:v>2.074796410602</c:v>
                </c:pt>
                <c:pt idx="238">
                  <c:v>6.2216461438749997</c:v>
                </c:pt>
                <c:pt idx="239">
                  <c:v>5.1818572812859998</c:v>
                </c:pt>
                <c:pt idx="240">
                  <c:v>5.1793076301559999</c:v>
                </c:pt>
                <c:pt idx="241">
                  <c:v>9.3176382892809997</c:v>
                </c:pt>
                <c:pt idx="242">
                  <c:v>2.0691724344839999</c:v>
                </c:pt>
                <c:pt idx="243">
                  <c:v>3.6207520819319998</c:v>
                </c:pt>
                <c:pt idx="244">
                  <c:v>5.1721551853439998</c:v>
                </c:pt>
                <c:pt idx="245">
                  <c:v>5.1695081729919998</c:v>
                </c:pt>
                <c:pt idx="246">
                  <c:v>6.2009415096189997</c:v>
                </c:pt>
                <c:pt idx="247">
                  <c:v>7.2320026448460002</c:v>
                </c:pt>
                <c:pt idx="248">
                  <c:v>10.326311441553001</c:v>
                </c:pt>
                <c:pt idx="249">
                  <c:v>8.2558061536709992</c:v>
                </c:pt>
                <c:pt idx="250">
                  <c:v>3.6115611230920002</c:v>
                </c:pt>
                <c:pt idx="251">
                  <c:v>2.5795001960419999</c:v>
                </c:pt>
                <c:pt idx="252">
                  <c:v>11.345177010544999</c:v>
                </c:pt>
                <c:pt idx="253">
                  <c:v>17.017502243216001</c:v>
                </c:pt>
                <c:pt idx="254">
                  <c:v>16.492890018192998</c:v>
                </c:pt>
                <c:pt idx="255">
                  <c:v>11.849745230477</c:v>
                </c:pt>
                <c:pt idx="256">
                  <c:v>12.874851295467</c:v>
                </c:pt>
                <c:pt idx="257">
                  <c:v>7.7243936350990001</c:v>
                </c:pt>
                <c:pt idx="258">
                  <c:v>8.2390562161100007</c:v>
                </c:pt>
                <c:pt idx="259">
                  <c:v>20.590218616645998</c:v>
                </c:pt>
                <c:pt idx="260">
                  <c:v>29.844602243490002</c:v>
                </c:pt>
                <c:pt idx="261">
                  <c:v>24.176706000966998</c:v>
                </c:pt>
                <c:pt idx="262">
                  <c:v>32.396242035923002</c:v>
                </c:pt>
                <c:pt idx="263">
                  <c:v>28.268914473683999</c:v>
                </c:pt>
                <c:pt idx="264">
                  <c:v>22.613620594840999</c:v>
                </c:pt>
                <c:pt idx="265">
                  <c:v>13.36231928748</c:v>
                </c:pt>
                <c:pt idx="266">
                  <c:v>57.538877272656997</c:v>
                </c:pt>
                <c:pt idx="267">
                  <c:v>51.358430486364</c:v>
                </c:pt>
                <c:pt idx="268">
                  <c:v>44.156457625203998</c:v>
                </c:pt>
                <c:pt idx="269">
                  <c:v>27.715901741995001</c:v>
                </c:pt>
                <c:pt idx="270">
                  <c:v>58.479832152622002</c:v>
                </c:pt>
                <c:pt idx="271">
                  <c:v>37.444346416626999</c:v>
                </c:pt>
                <c:pt idx="272">
                  <c:v>31.800905812897</c:v>
                </c:pt>
                <c:pt idx="273">
                  <c:v>95.375811463557</c:v>
                </c:pt>
                <c:pt idx="274">
                  <c:v>75.879147077371002</c:v>
                </c:pt>
                <c:pt idx="275">
                  <c:v>72.779084726129994</c:v>
                </c:pt>
                <c:pt idx="276">
                  <c:v>74.794315632011006</c:v>
                </c:pt>
                <c:pt idx="277">
                  <c:v>92.664646133681998</c:v>
                </c:pt>
                <c:pt idx="278">
                  <c:v>53.236143246175999</c:v>
                </c:pt>
                <c:pt idx="279">
                  <c:v>30.709544014453002</c:v>
                </c:pt>
                <c:pt idx="280">
                  <c:v>100.274732302277</c:v>
                </c:pt>
                <c:pt idx="281">
                  <c:v>112.477312814744</c:v>
                </c:pt>
                <c:pt idx="282">
                  <c:v>109.837338564655</c:v>
                </c:pt>
                <c:pt idx="283">
                  <c:v>79.682902909446994</c:v>
                </c:pt>
                <c:pt idx="284">
                  <c:v>110.76797427324399</c:v>
                </c:pt>
                <c:pt idx="285">
                  <c:v>78.081143148761996</c:v>
                </c:pt>
                <c:pt idx="286">
                  <c:v>43.881804868838998</c:v>
                </c:pt>
                <c:pt idx="287">
                  <c:v>115.233807355588</c:v>
                </c:pt>
                <c:pt idx="288">
                  <c:v>146.24203821655999</c:v>
                </c:pt>
                <c:pt idx="289">
                  <c:v>91.150275742313994</c:v>
                </c:pt>
                <c:pt idx="290">
                  <c:v>116.007509959855</c:v>
                </c:pt>
                <c:pt idx="291">
                  <c:v>145.36435117180901</c:v>
                </c:pt>
                <c:pt idx="292">
                  <c:v>89.431348736527994</c:v>
                </c:pt>
                <c:pt idx="293">
                  <c:v>65.030406795676996</c:v>
                </c:pt>
                <c:pt idx="294">
                  <c:v>138.59345412455099</c:v>
                </c:pt>
                <c:pt idx="295">
                  <c:v>160.33772401615499</c:v>
                </c:pt>
                <c:pt idx="296">
                  <c:v>108.003955074411</c:v>
                </c:pt>
                <c:pt idx="297">
                  <c:v>155.54384613825599</c:v>
                </c:pt>
                <c:pt idx="298">
                  <c:v>122.472114820138</c:v>
                </c:pt>
                <c:pt idx="299">
                  <c:v>83.480478216654006</c:v>
                </c:pt>
                <c:pt idx="300">
                  <c:v>69.300419849258006</c:v>
                </c:pt>
                <c:pt idx="301">
                  <c:v>140.98741725200799</c:v>
                </c:pt>
                <c:pt idx="302">
                  <c:v>111.549119468602</c:v>
                </c:pt>
                <c:pt idx="303">
                  <c:v>117.077700230622</c:v>
                </c:pt>
                <c:pt idx="304">
                  <c:v>95.783991974309004</c:v>
                </c:pt>
                <c:pt idx="305">
                  <c:v>113.262254975988</c:v>
                </c:pt>
                <c:pt idx="306">
                  <c:v>63.911590643745001</c:v>
                </c:pt>
                <c:pt idx="307">
                  <c:v>50.313959104814003</c:v>
                </c:pt>
                <c:pt idx="308">
                  <c:v>128.14971907571299</c:v>
                </c:pt>
                <c:pt idx="309">
                  <c:v>106.92395347553</c:v>
                </c:pt>
                <c:pt idx="310">
                  <c:v>85.230548634054998</c:v>
                </c:pt>
                <c:pt idx="311">
                  <c:v>82.608216763960002</c:v>
                </c:pt>
                <c:pt idx="312">
                  <c:v>72.477531965089995</c:v>
                </c:pt>
                <c:pt idx="313">
                  <c:v>52.967689709277003</c:v>
                </c:pt>
                <c:pt idx="314">
                  <c:v>42.966486140809998</c:v>
                </c:pt>
                <c:pt idx="315">
                  <c:v>74.874958818772001</c:v>
                </c:pt>
                <c:pt idx="316">
                  <c:v>89.269684214725999</c:v>
                </c:pt>
                <c:pt idx="317">
                  <c:v>58.293640512585</c:v>
                </c:pt>
                <c:pt idx="318">
                  <c:v>41.311824638769998</c:v>
                </c:pt>
                <c:pt idx="319">
                  <c:v>52.693848738827</c:v>
                </c:pt>
                <c:pt idx="320">
                  <c:v>31.805825435713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200-4031-9260-04D76AD800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62.690620000000003</c:v>
                </c:pt>
                <c:pt idx="1">
                  <c:v>45.758360000000003</c:v>
                </c:pt>
                <c:pt idx="2">
                  <c:v>39.796149999999997</c:v>
                </c:pt>
                <c:pt idx="3">
                  <c:v>40.750599999999999</c:v>
                </c:pt>
                <c:pt idx="4">
                  <c:v>35.109389999999998</c:v>
                </c:pt>
                <c:pt idx="5">
                  <c:v>39.396059999999999</c:v>
                </c:pt>
                <c:pt idx="6">
                  <c:v>51.509140000000002</c:v>
                </c:pt>
                <c:pt idx="7">
                  <c:v>34.762009999999997</c:v>
                </c:pt>
                <c:pt idx="8">
                  <c:v>42.031359999999999</c:v>
                </c:pt>
                <c:pt idx="9">
                  <c:v>39.776530000000001</c:v>
                </c:pt>
                <c:pt idx="10">
                  <c:v>47.0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24.426459999999999</c:v>
                </c:pt>
                <c:pt idx="1">
                  <c:v>35.836970000000001</c:v>
                </c:pt>
                <c:pt idx="2">
                  <c:v>39.172249999999998</c:v>
                </c:pt>
                <c:pt idx="3">
                  <c:v>36.899590000000003</c:v>
                </c:pt>
                <c:pt idx="4">
                  <c:v>42.519410000000001</c:v>
                </c:pt>
                <c:pt idx="5">
                  <c:v>40.655239999999999</c:v>
                </c:pt>
                <c:pt idx="6">
                  <c:v>33.377400000000002</c:v>
                </c:pt>
                <c:pt idx="7">
                  <c:v>39.457250000000002</c:v>
                </c:pt>
                <c:pt idx="8">
                  <c:v>38.534419999999997</c:v>
                </c:pt>
                <c:pt idx="9">
                  <c:v>39.545520000000003</c:v>
                </c:pt>
                <c:pt idx="10">
                  <c:v>34.68231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0.79406080000000001</c:v>
                </c:pt>
                <c:pt idx="1">
                  <c:v>1.4999001999999999</c:v>
                </c:pt>
                <c:pt idx="2">
                  <c:v>1.4676733</c:v>
                </c:pt>
                <c:pt idx="3">
                  <c:v>1.5614060000000001</c:v>
                </c:pt>
                <c:pt idx="4">
                  <c:v>1.6055045999999999</c:v>
                </c:pt>
                <c:pt idx="5">
                  <c:v>1.4029769999999999</c:v>
                </c:pt>
                <c:pt idx="6">
                  <c:v>1.0134391</c:v>
                </c:pt>
                <c:pt idx="7">
                  <c:v>1.5184148</c:v>
                </c:pt>
                <c:pt idx="8">
                  <c:v>1.5064758</c:v>
                </c:pt>
                <c:pt idx="9">
                  <c:v>1.4709349</c:v>
                </c:pt>
                <c:pt idx="10">
                  <c:v>1.34030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2.4414980000000002</c:v>
                </c:pt>
                <c:pt idx="1">
                  <c:v>7.4510249999999996</c:v>
                </c:pt>
                <c:pt idx="2">
                  <c:v>7.6297350000000002</c:v>
                </c:pt>
                <c:pt idx="3">
                  <c:v>7.1138500000000002</c:v>
                </c:pt>
                <c:pt idx="4">
                  <c:v>9.8800279999999994</c:v>
                </c:pt>
                <c:pt idx="5">
                  <c:v>7.951498</c:v>
                </c:pt>
                <c:pt idx="6">
                  <c:v>5.2875079999999999</c:v>
                </c:pt>
                <c:pt idx="7">
                  <c:v>9.078182</c:v>
                </c:pt>
                <c:pt idx="8">
                  <c:v>7.2528969999999999</c:v>
                </c:pt>
                <c:pt idx="9">
                  <c:v>6.9162229999999996</c:v>
                </c:pt>
                <c:pt idx="10">
                  <c:v>6.468956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9.6473600000000008</c:v>
                </c:pt>
                <c:pt idx="1">
                  <c:v>9.4537440000000004</c:v>
                </c:pt>
                <c:pt idx="2">
                  <c:v>11.934189999999999</c:v>
                </c:pt>
                <c:pt idx="3">
                  <c:v>13.67456</c:v>
                </c:pt>
                <c:pt idx="4">
                  <c:v>10.885669999999999</c:v>
                </c:pt>
                <c:pt idx="5">
                  <c:v>10.59422</c:v>
                </c:pt>
                <c:pt idx="6">
                  <c:v>8.8125140000000002</c:v>
                </c:pt>
                <c:pt idx="7">
                  <c:v>15.184150000000001</c:v>
                </c:pt>
                <c:pt idx="8">
                  <c:v>10.674849999999999</c:v>
                </c:pt>
                <c:pt idx="9">
                  <c:v>12.290789999999999</c:v>
                </c:pt>
                <c:pt idx="10">
                  <c:v>10.41102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365</c:v>
                </c:pt>
                <c:pt idx="1">
                  <c:v>44366</c:v>
                </c:pt>
                <c:pt idx="2">
                  <c:v>44367</c:v>
                </c:pt>
                <c:pt idx="3">
                  <c:v>44368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2</c:v>
                </c:pt>
                <c:pt idx="8">
                  <c:v>44373</c:v>
                </c:pt>
                <c:pt idx="9">
                  <c:v>44374</c:v>
                </c:pt>
                <c:pt idx="10">
                  <c:v>44375</c:v>
                </c:pt>
                <c:pt idx="11">
                  <c:v>44376</c:v>
                </c:pt>
                <c:pt idx="12">
                  <c:v>44377</c:v>
                </c:pt>
                <c:pt idx="13">
                  <c:v>44378</c:v>
                </c:pt>
                <c:pt idx="14">
                  <c:v>44379</c:v>
                </c:pt>
                <c:pt idx="15">
                  <c:v>44380</c:v>
                </c:pt>
                <c:pt idx="16">
                  <c:v>44381</c:v>
                </c:pt>
                <c:pt idx="17">
                  <c:v>44382</c:v>
                </c:pt>
                <c:pt idx="18">
                  <c:v>44383</c:v>
                </c:pt>
                <c:pt idx="19">
                  <c:v>44384</c:v>
                </c:pt>
                <c:pt idx="20">
                  <c:v>44385</c:v>
                </c:pt>
                <c:pt idx="21">
                  <c:v>44386</c:v>
                </c:pt>
                <c:pt idx="22">
                  <c:v>44387</c:v>
                </c:pt>
                <c:pt idx="23">
                  <c:v>44388</c:v>
                </c:pt>
                <c:pt idx="24">
                  <c:v>44389</c:v>
                </c:pt>
                <c:pt idx="25">
                  <c:v>44390</c:v>
                </c:pt>
                <c:pt idx="26">
                  <c:v>44391</c:v>
                </c:pt>
                <c:pt idx="27">
                  <c:v>44392</c:v>
                </c:pt>
                <c:pt idx="28">
                  <c:v>44393</c:v>
                </c:pt>
                <c:pt idx="29">
                  <c:v>44394</c:v>
                </c:pt>
                <c:pt idx="30">
                  <c:v>44395</c:v>
                </c:pt>
                <c:pt idx="31">
                  <c:v>44396</c:v>
                </c:pt>
                <c:pt idx="32">
                  <c:v>44397</c:v>
                </c:pt>
                <c:pt idx="33">
                  <c:v>44398</c:v>
                </c:pt>
                <c:pt idx="34">
                  <c:v>44399</c:v>
                </c:pt>
                <c:pt idx="35">
                  <c:v>44400</c:v>
                </c:pt>
                <c:pt idx="36">
                  <c:v>44401</c:v>
                </c:pt>
                <c:pt idx="37">
                  <c:v>44402</c:v>
                </c:pt>
                <c:pt idx="38">
                  <c:v>44403</c:v>
                </c:pt>
                <c:pt idx="39">
                  <c:v>44404</c:v>
                </c:pt>
                <c:pt idx="40">
                  <c:v>44405</c:v>
                </c:pt>
                <c:pt idx="41">
                  <c:v>44406</c:v>
                </c:pt>
                <c:pt idx="42">
                  <c:v>44407</c:v>
                </c:pt>
                <c:pt idx="43">
                  <c:v>44408</c:v>
                </c:pt>
                <c:pt idx="44">
                  <c:v>44409</c:v>
                </c:pt>
                <c:pt idx="45">
                  <c:v>44410</c:v>
                </c:pt>
                <c:pt idx="46">
                  <c:v>44411</c:v>
                </c:pt>
                <c:pt idx="47">
                  <c:v>44412</c:v>
                </c:pt>
                <c:pt idx="48">
                  <c:v>44413</c:v>
                </c:pt>
                <c:pt idx="49">
                  <c:v>44414</c:v>
                </c:pt>
                <c:pt idx="50">
                  <c:v>44415</c:v>
                </c:pt>
                <c:pt idx="51">
                  <c:v>44416</c:v>
                </c:pt>
                <c:pt idx="52">
                  <c:v>44417</c:v>
                </c:pt>
                <c:pt idx="53">
                  <c:v>44418</c:v>
                </c:pt>
                <c:pt idx="54">
                  <c:v>44419</c:v>
                </c:pt>
                <c:pt idx="55">
                  <c:v>44420</c:v>
                </c:pt>
                <c:pt idx="56">
                  <c:v>44421</c:v>
                </c:pt>
                <c:pt idx="57">
                  <c:v>44422</c:v>
                </c:pt>
                <c:pt idx="58">
                  <c:v>44423</c:v>
                </c:pt>
                <c:pt idx="59">
                  <c:v>44424</c:v>
                </c:pt>
                <c:pt idx="60">
                  <c:v>44425</c:v>
                </c:pt>
                <c:pt idx="61">
                  <c:v>44426</c:v>
                </c:pt>
                <c:pt idx="62">
                  <c:v>44427</c:v>
                </c:pt>
                <c:pt idx="63">
                  <c:v>44428</c:v>
                </c:pt>
                <c:pt idx="64">
                  <c:v>44429</c:v>
                </c:pt>
                <c:pt idx="65">
                  <c:v>44430</c:v>
                </c:pt>
                <c:pt idx="66">
                  <c:v>44431</c:v>
                </c:pt>
                <c:pt idx="67">
                  <c:v>44432</c:v>
                </c:pt>
                <c:pt idx="68">
                  <c:v>44433</c:v>
                </c:pt>
                <c:pt idx="69">
                  <c:v>44434</c:v>
                </c:pt>
                <c:pt idx="70">
                  <c:v>44435</c:v>
                </c:pt>
                <c:pt idx="71">
                  <c:v>44436</c:v>
                </c:pt>
                <c:pt idx="72">
                  <c:v>44437</c:v>
                </c:pt>
                <c:pt idx="73">
                  <c:v>44438</c:v>
                </c:pt>
                <c:pt idx="74">
                  <c:v>44439</c:v>
                </c:pt>
                <c:pt idx="75">
                  <c:v>44440</c:v>
                </c:pt>
                <c:pt idx="76">
                  <c:v>44441</c:v>
                </c:pt>
                <c:pt idx="77">
                  <c:v>44442</c:v>
                </c:pt>
                <c:pt idx="78">
                  <c:v>44443</c:v>
                </c:pt>
                <c:pt idx="79">
                  <c:v>44444</c:v>
                </c:pt>
                <c:pt idx="80">
                  <c:v>44445</c:v>
                </c:pt>
                <c:pt idx="81">
                  <c:v>44446</c:v>
                </c:pt>
                <c:pt idx="82">
                  <c:v>44447</c:v>
                </c:pt>
                <c:pt idx="83">
                  <c:v>44448</c:v>
                </c:pt>
                <c:pt idx="84">
                  <c:v>44449</c:v>
                </c:pt>
                <c:pt idx="85">
                  <c:v>44450</c:v>
                </c:pt>
                <c:pt idx="86">
                  <c:v>44451</c:v>
                </c:pt>
                <c:pt idx="87">
                  <c:v>44452</c:v>
                </c:pt>
                <c:pt idx="88">
                  <c:v>44453</c:v>
                </c:pt>
                <c:pt idx="89">
                  <c:v>44454</c:v>
                </c:pt>
                <c:pt idx="90">
                  <c:v>44455</c:v>
                </c:pt>
                <c:pt idx="91">
                  <c:v>44456</c:v>
                </c:pt>
                <c:pt idx="92">
                  <c:v>44457</c:v>
                </c:pt>
                <c:pt idx="93">
                  <c:v>44458</c:v>
                </c:pt>
                <c:pt idx="94">
                  <c:v>44459</c:v>
                </c:pt>
                <c:pt idx="95">
                  <c:v>44460</c:v>
                </c:pt>
                <c:pt idx="96">
                  <c:v>44461</c:v>
                </c:pt>
                <c:pt idx="97">
                  <c:v>44462</c:v>
                </c:pt>
                <c:pt idx="98">
                  <c:v>44463</c:v>
                </c:pt>
                <c:pt idx="99">
                  <c:v>44464</c:v>
                </c:pt>
                <c:pt idx="100">
                  <c:v>44465</c:v>
                </c:pt>
                <c:pt idx="101">
                  <c:v>44466</c:v>
                </c:pt>
                <c:pt idx="102">
                  <c:v>44467</c:v>
                </c:pt>
                <c:pt idx="103">
                  <c:v>44468</c:v>
                </c:pt>
                <c:pt idx="104">
                  <c:v>44469</c:v>
                </c:pt>
                <c:pt idx="105">
                  <c:v>44470</c:v>
                </c:pt>
                <c:pt idx="106">
                  <c:v>44471</c:v>
                </c:pt>
                <c:pt idx="107">
                  <c:v>44472</c:v>
                </c:pt>
                <c:pt idx="108">
                  <c:v>44473</c:v>
                </c:pt>
                <c:pt idx="109">
                  <c:v>44474</c:v>
                </c:pt>
                <c:pt idx="110">
                  <c:v>44475</c:v>
                </c:pt>
                <c:pt idx="111">
                  <c:v>44476</c:v>
                </c:pt>
                <c:pt idx="112">
                  <c:v>44477</c:v>
                </c:pt>
                <c:pt idx="113">
                  <c:v>44478</c:v>
                </c:pt>
                <c:pt idx="114">
                  <c:v>44479</c:v>
                </c:pt>
                <c:pt idx="115">
                  <c:v>44480</c:v>
                </c:pt>
                <c:pt idx="116">
                  <c:v>44481</c:v>
                </c:pt>
                <c:pt idx="117">
                  <c:v>44482</c:v>
                </c:pt>
                <c:pt idx="118">
                  <c:v>44483</c:v>
                </c:pt>
                <c:pt idx="119">
                  <c:v>44484</c:v>
                </c:pt>
                <c:pt idx="120">
                  <c:v>44485</c:v>
                </c:pt>
                <c:pt idx="121">
                  <c:v>44486</c:v>
                </c:pt>
                <c:pt idx="122">
                  <c:v>44487</c:v>
                </c:pt>
                <c:pt idx="123">
                  <c:v>44488</c:v>
                </c:pt>
                <c:pt idx="124">
                  <c:v>44489</c:v>
                </c:pt>
                <c:pt idx="125">
                  <c:v>44490</c:v>
                </c:pt>
                <c:pt idx="126">
                  <c:v>44491</c:v>
                </c:pt>
                <c:pt idx="127">
                  <c:v>44492</c:v>
                </c:pt>
                <c:pt idx="128">
                  <c:v>44493</c:v>
                </c:pt>
                <c:pt idx="129">
                  <c:v>44494</c:v>
                </c:pt>
                <c:pt idx="130">
                  <c:v>44495</c:v>
                </c:pt>
                <c:pt idx="131">
                  <c:v>44496</c:v>
                </c:pt>
                <c:pt idx="132">
                  <c:v>44497</c:v>
                </c:pt>
                <c:pt idx="133">
                  <c:v>44498</c:v>
                </c:pt>
                <c:pt idx="134">
                  <c:v>44499</c:v>
                </c:pt>
                <c:pt idx="135">
                  <c:v>44500</c:v>
                </c:pt>
                <c:pt idx="136">
                  <c:v>44501</c:v>
                </c:pt>
                <c:pt idx="137">
                  <c:v>44502</c:v>
                </c:pt>
                <c:pt idx="138">
                  <c:v>44503</c:v>
                </c:pt>
                <c:pt idx="139">
                  <c:v>44504</c:v>
                </c:pt>
                <c:pt idx="140">
                  <c:v>44505</c:v>
                </c:pt>
                <c:pt idx="141">
                  <c:v>44506</c:v>
                </c:pt>
                <c:pt idx="142">
                  <c:v>44507</c:v>
                </c:pt>
                <c:pt idx="143">
                  <c:v>44508</c:v>
                </c:pt>
                <c:pt idx="144">
                  <c:v>44509</c:v>
                </c:pt>
                <c:pt idx="145">
                  <c:v>44510</c:v>
                </c:pt>
                <c:pt idx="146">
                  <c:v>44511</c:v>
                </c:pt>
                <c:pt idx="147">
                  <c:v>44512</c:v>
                </c:pt>
                <c:pt idx="148">
                  <c:v>44513</c:v>
                </c:pt>
                <c:pt idx="149">
                  <c:v>44514</c:v>
                </c:pt>
                <c:pt idx="150">
                  <c:v>44515</c:v>
                </c:pt>
                <c:pt idx="151">
                  <c:v>44516</c:v>
                </c:pt>
                <c:pt idx="152">
                  <c:v>44517</c:v>
                </c:pt>
                <c:pt idx="153">
                  <c:v>44518</c:v>
                </c:pt>
                <c:pt idx="154">
                  <c:v>44519</c:v>
                </c:pt>
                <c:pt idx="155">
                  <c:v>44520</c:v>
                </c:pt>
                <c:pt idx="156">
                  <c:v>44521</c:v>
                </c:pt>
                <c:pt idx="157">
                  <c:v>44522</c:v>
                </c:pt>
                <c:pt idx="158">
                  <c:v>44523</c:v>
                </c:pt>
                <c:pt idx="159">
                  <c:v>44524</c:v>
                </c:pt>
                <c:pt idx="160">
                  <c:v>44525</c:v>
                </c:pt>
                <c:pt idx="161">
                  <c:v>44526</c:v>
                </c:pt>
                <c:pt idx="162">
                  <c:v>44527</c:v>
                </c:pt>
                <c:pt idx="163">
                  <c:v>44528</c:v>
                </c:pt>
                <c:pt idx="164">
                  <c:v>44529</c:v>
                </c:pt>
                <c:pt idx="165">
                  <c:v>44530</c:v>
                </c:pt>
                <c:pt idx="166">
                  <c:v>44531</c:v>
                </c:pt>
                <c:pt idx="167">
                  <c:v>44532</c:v>
                </c:pt>
                <c:pt idx="168">
                  <c:v>44533</c:v>
                </c:pt>
                <c:pt idx="169">
                  <c:v>44534</c:v>
                </c:pt>
                <c:pt idx="170">
                  <c:v>44535</c:v>
                </c:pt>
                <c:pt idx="171">
                  <c:v>44536</c:v>
                </c:pt>
                <c:pt idx="172">
                  <c:v>44537</c:v>
                </c:pt>
                <c:pt idx="173">
                  <c:v>44538</c:v>
                </c:pt>
                <c:pt idx="174">
                  <c:v>44539</c:v>
                </c:pt>
                <c:pt idx="175">
                  <c:v>44540</c:v>
                </c:pt>
                <c:pt idx="176">
                  <c:v>44541</c:v>
                </c:pt>
                <c:pt idx="177">
                  <c:v>44542</c:v>
                </c:pt>
                <c:pt idx="178">
                  <c:v>44543</c:v>
                </c:pt>
                <c:pt idx="179">
                  <c:v>44544</c:v>
                </c:pt>
                <c:pt idx="180">
                  <c:v>44545</c:v>
                </c:pt>
                <c:pt idx="181">
                  <c:v>44546</c:v>
                </c:pt>
                <c:pt idx="182">
                  <c:v>44547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1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1</c:v>
                </c:pt>
                <c:pt idx="40">
                  <c:v>2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1</c:v>
                </c:pt>
                <c:pt idx="52">
                  <c:v>0</c:v>
                </c:pt>
                <c:pt idx="53">
                  <c:v>0</c:v>
                </c:pt>
                <c:pt idx="54">
                  <c:v>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1</c:v>
                </c:pt>
                <c:pt idx="67">
                  <c:v>0</c:v>
                </c:pt>
                <c:pt idx="68">
                  <c:v>0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2</c:v>
                </c:pt>
                <c:pt idx="76">
                  <c:v>1</c:v>
                </c:pt>
                <c:pt idx="77">
                  <c:v>1</c:v>
                </c:pt>
                <c:pt idx="78">
                  <c:v>0</c:v>
                </c:pt>
                <c:pt idx="79">
                  <c:v>0</c:v>
                </c:pt>
                <c:pt idx="80">
                  <c:v>1</c:v>
                </c:pt>
                <c:pt idx="81">
                  <c:v>2</c:v>
                </c:pt>
                <c:pt idx="82">
                  <c:v>1</c:v>
                </c:pt>
                <c:pt idx="83">
                  <c:v>1</c:v>
                </c:pt>
                <c:pt idx="84">
                  <c:v>0</c:v>
                </c:pt>
                <c:pt idx="85">
                  <c:v>0</c:v>
                </c:pt>
                <c:pt idx="86">
                  <c:v>1</c:v>
                </c:pt>
                <c:pt idx="87">
                  <c:v>0</c:v>
                </c:pt>
                <c:pt idx="88">
                  <c:v>1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1</c:v>
                </c:pt>
                <c:pt idx="93">
                  <c:v>0</c:v>
                </c:pt>
                <c:pt idx="94">
                  <c:v>4</c:v>
                </c:pt>
                <c:pt idx="95">
                  <c:v>3</c:v>
                </c:pt>
                <c:pt idx="96">
                  <c:v>2</c:v>
                </c:pt>
                <c:pt idx="97">
                  <c:v>0</c:v>
                </c:pt>
                <c:pt idx="98">
                  <c:v>0</c:v>
                </c:pt>
                <c:pt idx="99">
                  <c:v>1</c:v>
                </c:pt>
                <c:pt idx="100">
                  <c:v>1</c:v>
                </c:pt>
                <c:pt idx="101">
                  <c:v>5</c:v>
                </c:pt>
                <c:pt idx="102">
                  <c:v>2</c:v>
                </c:pt>
                <c:pt idx="103">
                  <c:v>7</c:v>
                </c:pt>
                <c:pt idx="104">
                  <c:v>3</c:v>
                </c:pt>
                <c:pt idx="105">
                  <c:v>2</c:v>
                </c:pt>
                <c:pt idx="106">
                  <c:v>0</c:v>
                </c:pt>
                <c:pt idx="107">
                  <c:v>0</c:v>
                </c:pt>
                <c:pt idx="108">
                  <c:v>3</c:v>
                </c:pt>
                <c:pt idx="109">
                  <c:v>5</c:v>
                </c:pt>
                <c:pt idx="110">
                  <c:v>2</c:v>
                </c:pt>
                <c:pt idx="111">
                  <c:v>1</c:v>
                </c:pt>
                <c:pt idx="112">
                  <c:v>2</c:v>
                </c:pt>
                <c:pt idx="113">
                  <c:v>1</c:v>
                </c:pt>
                <c:pt idx="114">
                  <c:v>0</c:v>
                </c:pt>
                <c:pt idx="115">
                  <c:v>2</c:v>
                </c:pt>
                <c:pt idx="116">
                  <c:v>3</c:v>
                </c:pt>
                <c:pt idx="117">
                  <c:v>1</c:v>
                </c:pt>
                <c:pt idx="118">
                  <c:v>3</c:v>
                </c:pt>
                <c:pt idx="119">
                  <c:v>6</c:v>
                </c:pt>
                <c:pt idx="120">
                  <c:v>2</c:v>
                </c:pt>
                <c:pt idx="121">
                  <c:v>1</c:v>
                </c:pt>
                <c:pt idx="122">
                  <c:v>12</c:v>
                </c:pt>
                <c:pt idx="123">
                  <c:v>8</c:v>
                </c:pt>
                <c:pt idx="124">
                  <c:v>9</c:v>
                </c:pt>
                <c:pt idx="125">
                  <c:v>7</c:v>
                </c:pt>
                <c:pt idx="126">
                  <c:v>10</c:v>
                </c:pt>
                <c:pt idx="127">
                  <c:v>0</c:v>
                </c:pt>
                <c:pt idx="128">
                  <c:v>3</c:v>
                </c:pt>
                <c:pt idx="129">
                  <c:v>19</c:v>
                </c:pt>
                <c:pt idx="130">
                  <c:v>5</c:v>
                </c:pt>
                <c:pt idx="131">
                  <c:v>17</c:v>
                </c:pt>
                <c:pt idx="132">
                  <c:v>3</c:v>
                </c:pt>
                <c:pt idx="133">
                  <c:v>8</c:v>
                </c:pt>
                <c:pt idx="134">
                  <c:v>5</c:v>
                </c:pt>
                <c:pt idx="135">
                  <c:v>4</c:v>
                </c:pt>
                <c:pt idx="136">
                  <c:v>40</c:v>
                </c:pt>
                <c:pt idx="137">
                  <c:v>25</c:v>
                </c:pt>
                <c:pt idx="138">
                  <c:v>19</c:v>
                </c:pt>
                <c:pt idx="139">
                  <c:v>24</c:v>
                </c:pt>
                <c:pt idx="140">
                  <c:v>27</c:v>
                </c:pt>
                <c:pt idx="141">
                  <c:v>13</c:v>
                </c:pt>
                <c:pt idx="142">
                  <c:v>5</c:v>
                </c:pt>
                <c:pt idx="143">
                  <c:v>50</c:v>
                </c:pt>
                <c:pt idx="144">
                  <c:v>25</c:v>
                </c:pt>
                <c:pt idx="145">
                  <c:v>29</c:v>
                </c:pt>
                <c:pt idx="146">
                  <c:v>35</c:v>
                </c:pt>
                <c:pt idx="147">
                  <c:v>34</c:v>
                </c:pt>
                <c:pt idx="148">
                  <c:v>20</c:v>
                </c:pt>
                <c:pt idx="149">
                  <c:v>14</c:v>
                </c:pt>
                <c:pt idx="150">
                  <c:v>55</c:v>
                </c:pt>
                <c:pt idx="151">
                  <c:v>33</c:v>
                </c:pt>
                <c:pt idx="152">
                  <c:v>13</c:v>
                </c:pt>
                <c:pt idx="153">
                  <c:v>42</c:v>
                </c:pt>
                <c:pt idx="154">
                  <c:v>52</c:v>
                </c:pt>
                <c:pt idx="155">
                  <c:v>11</c:v>
                </c:pt>
                <c:pt idx="156">
                  <c:v>7</c:v>
                </c:pt>
                <c:pt idx="157">
                  <c:v>67</c:v>
                </c:pt>
                <c:pt idx="158">
                  <c:v>44</c:v>
                </c:pt>
                <c:pt idx="159">
                  <c:v>45</c:v>
                </c:pt>
                <c:pt idx="160" formatCode="General">
                  <c:v>44</c:v>
                </c:pt>
                <c:pt idx="161" formatCode="General">
                  <c:v>47</c:v>
                </c:pt>
                <c:pt idx="162" formatCode="General">
                  <c:v>21</c:v>
                </c:pt>
                <c:pt idx="163" formatCode="General">
                  <c:v>8</c:v>
                </c:pt>
                <c:pt idx="164" formatCode="General">
                  <c:v>38</c:v>
                </c:pt>
                <c:pt idx="165" formatCode="General">
                  <c:v>43</c:v>
                </c:pt>
                <c:pt idx="166" formatCode="General">
                  <c:v>34</c:v>
                </c:pt>
                <c:pt idx="167" formatCode="General">
                  <c:v>40</c:v>
                </c:pt>
                <c:pt idx="168" formatCode="General">
                  <c:v>31</c:v>
                </c:pt>
                <c:pt idx="169" formatCode="General">
                  <c:v>27</c:v>
                </c:pt>
                <c:pt idx="170" formatCode="General">
                  <c:v>9</c:v>
                </c:pt>
                <c:pt idx="171" formatCode="General">
                  <c:v>44</c:v>
                </c:pt>
                <c:pt idx="172" formatCode="General">
                  <c:v>47</c:v>
                </c:pt>
                <c:pt idx="173" formatCode="General">
                  <c:v>34</c:v>
                </c:pt>
                <c:pt idx="174" formatCode="General">
                  <c:v>39</c:v>
                </c:pt>
                <c:pt idx="175" formatCode="General">
                  <c:v>22</c:v>
                </c:pt>
                <c:pt idx="176" formatCode="General">
                  <c:v>16</c:v>
                </c:pt>
                <c:pt idx="177" formatCode="General">
                  <c:v>6</c:v>
                </c:pt>
                <c:pt idx="178" formatCode="General">
                  <c:v>17</c:v>
                </c:pt>
                <c:pt idx="179" formatCode="General">
                  <c:v>38</c:v>
                </c:pt>
                <c:pt idx="180" formatCode="General">
                  <c:v>31</c:v>
                </c:pt>
                <c:pt idx="181" formatCode="General">
                  <c:v>16</c:v>
                </c:pt>
                <c:pt idx="182" formatCode="General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D$1</c:f>
              <c:strCache>
                <c:ptCount val="16"/>
                <c:pt idx="0">
                  <c:v>29.08 - 04.09</c:v>
                </c:pt>
                <c:pt idx="1">
                  <c:v>05.09 - 11.09</c:v>
                </c:pt>
                <c:pt idx="2">
                  <c:v>12.09 - 18.09</c:v>
                </c:pt>
                <c:pt idx="3">
                  <c:v>19.09 - 25.09</c:v>
                </c:pt>
                <c:pt idx="4">
                  <c:v>26.09 - 02.10</c:v>
                </c:pt>
                <c:pt idx="5">
                  <c:v>03.10 - 09.10</c:v>
                </c:pt>
                <c:pt idx="6">
                  <c:v>10.10 - 16.10</c:v>
                </c:pt>
                <c:pt idx="7">
                  <c:v>17.10 - 23.10</c:v>
                </c:pt>
                <c:pt idx="8">
                  <c:v>24.10 - 30.10</c:v>
                </c:pt>
                <c:pt idx="9">
                  <c:v>31.10 - 06.11</c:v>
                </c:pt>
                <c:pt idx="10">
                  <c:v>07.11 - 13.11</c:v>
                </c:pt>
                <c:pt idx="11">
                  <c:v>14.11 - 20.11</c:v>
                </c:pt>
                <c:pt idx="12">
                  <c:v>21.11 - 27.11</c:v>
                </c:pt>
                <c:pt idx="13">
                  <c:v>28.11 - 04.12</c:v>
                </c:pt>
                <c:pt idx="14">
                  <c:v>05.12 - 11.12</c:v>
                </c:pt>
                <c:pt idx="15">
                  <c:v>12.12 - 18.12</c:v>
                </c:pt>
              </c:strCache>
            </c:strRef>
          </c:cat>
          <c:val>
            <c:numRef>
              <c:f>List1!$O$2:$AD$2</c:f>
              <c:numCache>
                <c:formatCode>General</c:formatCode>
                <c:ptCount val="16"/>
                <c:pt idx="0">
                  <c:v>0.9748964</c:v>
                </c:pt>
                <c:pt idx="1">
                  <c:v>0.55708360000000001</c:v>
                </c:pt>
                <c:pt idx="2">
                  <c:v>1.5319799999999999</c:v>
                </c:pt>
                <c:pt idx="3">
                  <c:v>4.3173984000000001</c:v>
                </c:pt>
                <c:pt idx="4">
                  <c:v>23.6760558</c:v>
                </c:pt>
                <c:pt idx="5">
                  <c:v>56.961804899999997</c:v>
                </c:pt>
                <c:pt idx="6">
                  <c:v>137.8782075</c:v>
                </c:pt>
                <c:pt idx="7">
                  <c:v>189.68698860000001</c:v>
                </c:pt>
                <c:pt idx="8">
                  <c:v>276.03495700000002</c:v>
                </c:pt>
                <c:pt idx="9">
                  <c:v>233.2787855</c:v>
                </c:pt>
                <c:pt idx="10">
                  <c:v>175.89916779999999</c:v>
                </c:pt>
                <c:pt idx="11">
                  <c:v>102.7819365</c:v>
                </c:pt>
                <c:pt idx="12">
                  <c:v>72.977960300000007</c:v>
                </c:pt>
                <c:pt idx="13">
                  <c:v>61.279203299999999</c:v>
                </c:pt>
                <c:pt idx="14">
                  <c:v>63.925350700000003</c:v>
                </c:pt>
                <c:pt idx="15">
                  <c:v>64.7609762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609-4D55-AD38-109C0C8C5BC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D$1</c:f>
              <c:strCache>
                <c:ptCount val="16"/>
                <c:pt idx="0">
                  <c:v>29.08 - 04.09</c:v>
                </c:pt>
                <c:pt idx="1">
                  <c:v>05.09 - 11.09</c:v>
                </c:pt>
                <c:pt idx="2">
                  <c:v>12.09 - 18.09</c:v>
                </c:pt>
                <c:pt idx="3">
                  <c:v>19.09 - 25.09</c:v>
                </c:pt>
                <c:pt idx="4">
                  <c:v>26.09 - 02.10</c:v>
                </c:pt>
                <c:pt idx="5">
                  <c:v>03.10 - 09.10</c:v>
                </c:pt>
                <c:pt idx="6">
                  <c:v>10.10 - 16.10</c:v>
                </c:pt>
                <c:pt idx="7">
                  <c:v>17.10 - 23.10</c:v>
                </c:pt>
                <c:pt idx="8">
                  <c:v>24.10 - 30.10</c:v>
                </c:pt>
                <c:pt idx="9">
                  <c:v>31.10 - 06.11</c:v>
                </c:pt>
                <c:pt idx="10">
                  <c:v>07.11 - 13.11</c:v>
                </c:pt>
                <c:pt idx="11">
                  <c:v>14.11 - 20.11</c:v>
                </c:pt>
                <c:pt idx="12">
                  <c:v>21.11 - 27.11</c:v>
                </c:pt>
                <c:pt idx="13">
                  <c:v>28.11 - 04.12</c:v>
                </c:pt>
                <c:pt idx="14">
                  <c:v>05.12 - 11.12</c:v>
                </c:pt>
                <c:pt idx="15">
                  <c:v>12.12 - 18.12</c:v>
                </c:pt>
              </c:strCache>
            </c:strRef>
          </c:cat>
          <c:val>
            <c:numRef>
              <c:f>List1!$O$3:$AD$3</c:f>
              <c:numCache>
                <c:formatCode>General</c:formatCode>
                <c:ptCount val="16"/>
                <c:pt idx="0">
                  <c:v>0.55708360000000001</c:v>
                </c:pt>
                <c:pt idx="1">
                  <c:v>0.69635449999999999</c:v>
                </c:pt>
                <c:pt idx="2">
                  <c:v>0.41781269999999998</c:v>
                </c:pt>
                <c:pt idx="3">
                  <c:v>1.3927091</c:v>
                </c:pt>
                <c:pt idx="4">
                  <c:v>2.7854182999999999</c:v>
                </c:pt>
                <c:pt idx="5">
                  <c:v>1.9497928</c:v>
                </c:pt>
                <c:pt idx="6">
                  <c:v>2.3676054999999998</c:v>
                </c:pt>
                <c:pt idx="7">
                  <c:v>6.5457330000000002</c:v>
                </c:pt>
                <c:pt idx="8">
                  <c:v>8.3562550000000009</c:v>
                </c:pt>
                <c:pt idx="9">
                  <c:v>21.1691793</c:v>
                </c:pt>
                <c:pt idx="10">
                  <c:v>27.5756415</c:v>
                </c:pt>
                <c:pt idx="11">
                  <c:v>30.639601599999999</c:v>
                </c:pt>
                <c:pt idx="12">
                  <c:v>38.299502099999998</c:v>
                </c:pt>
                <c:pt idx="13">
                  <c:v>30.7788726</c:v>
                </c:pt>
                <c:pt idx="14">
                  <c:v>29.386163400000001</c:v>
                </c:pt>
                <c:pt idx="15">
                  <c:v>16.8517809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609-4D55-AD38-109C0C8C5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Liberecký kraj</c:v>
                </c:pt>
                <c:pt idx="3">
                  <c:v>Středočeský kraj</c:v>
                </c:pt>
                <c:pt idx="4">
                  <c:v>Kraj Vysočina</c:v>
                </c:pt>
                <c:pt idx="5">
                  <c:v>Jihočeský kraj</c:v>
                </c:pt>
                <c:pt idx="6">
                  <c:v>Ústecký kraj</c:v>
                </c:pt>
                <c:pt idx="7">
                  <c:v>Pardubický kraj</c:v>
                </c:pt>
                <c:pt idx="8">
                  <c:v>Hlavní město Praha</c:v>
                </c:pt>
                <c:pt idx="9">
                  <c:v>ČR</c:v>
                </c:pt>
                <c:pt idx="10">
                  <c:v>Olomoucký kraj</c:v>
                </c:pt>
                <c:pt idx="11">
                  <c:v>Zlínský kraj</c:v>
                </c:pt>
                <c:pt idx="12">
                  <c:v>Jihomoravský kraj</c:v>
                </c:pt>
                <c:pt idx="13">
                  <c:v>Karlovar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598709999999997</c:v>
                </c:pt>
                <c:pt idx="1">
                  <c:v>90.242670000000004</c:v>
                </c:pt>
                <c:pt idx="2">
                  <c:v>89.937110000000004</c:v>
                </c:pt>
                <c:pt idx="3">
                  <c:v>89.7821</c:v>
                </c:pt>
                <c:pt idx="4">
                  <c:v>89.735849999999999</c:v>
                </c:pt>
                <c:pt idx="5">
                  <c:v>89.163039999999995</c:v>
                </c:pt>
                <c:pt idx="6">
                  <c:v>88.990380000000002</c:v>
                </c:pt>
                <c:pt idx="7">
                  <c:v>88.971130000000002</c:v>
                </c:pt>
                <c:pt idx="8">
                  <c:v>88.941890000000001</c:v>
                </c:pt>
                <c:pt idx="9">
                  <c:v>87.785359999999997</c:v>
                </c:pt>
                <c:pt idx="10">
                  <c:v>87.226280000000003</c:v>
                </c:pt>
                <c:pt idx="11">
                  <c:v>84.889750000000006</c:v>
                </c:pt>
                <c:pt idx="12">
                  <c:v>84.816990000000004</c:v>
                </c:pt>
                <c:pt idx="13">
                  <c:v>83.916079999999994</c:v>
                </c:pt>
                <c:pt idx="14">
                  <c:v>83.84556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Hlavní město Praha</c:v>
                </c:pt>
                <c:pt idx="5">
                  <c:v>Královéhradecký kraj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Zlín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7.824529999999996</c:v>
                </c:pt>
                <c:pt idx="1">
                  <c:v>87.670850000000002</c:v>
                </c:pt>
                <c:pt idx="2">
                  <c:v>86.910439999999994</c:v>
                </c:pt>
                <c:pt idx="3">
                  <c:v>86.640979999999999</c:v>
                </c:pt>
                <c:pt idx="4">
                  <c:v>85.896370000000005</c:v>
                </c:pt>
                <c:pt idx="5">
                  <c:v>85.791089999999997</c:v>
                </c:pt>
                <c:pt idx="6">
                  <c:v>84.424530000000004</c:v>
                </c:pt>
                <c:pt idx="7">
                  <c:v>83.962509999999995</c:v>
                </c:pt>
                <c:pt idx="8">
                  <c:v>83.386690000000002</c:v>
                </c:pt>
                <c:pt idx="9">
                  <c:v>83.008849999999995</c:v>
                </c:pt>
                <c:pt idx="10">
                  <c:v>82.431039999999996</c:v>
                </c:pt>
                <c:pt idx="11">
                  <c:v>80.417569999999998</c:v>
                </c:pt>
                <c:pt idx="12">
                  <c:v>78.259600000000006</c:v>
                </c:pt>
                <c:pt idx="13">
                  <c:v>78.25573</c:v>
                </c:pt>
                <c:pt idx="14">
                  <c:v>76.7792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8 Radiologický asistent</c:v>
                </c:pt>
                <c:pt idx="9">
                  <c:v>§ 26 Odborný pracovník v laboratorních metodách a v přípravě léčivých přípravků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22 Psycholog ve zdravotnictví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11 Optometrista</c:v>
                </c:pt>
                <c:pt idx="18">
                  <c:v>§ 7 Ergoterapeut</c:v>
                </c:pt>
                <c:pt idx="19">
                  <c:v>§ 10 Zdravotně-sociální pracovník</c:v>
                </c:pt>
                <c:pt idx="20">
                  <c:v>§ 23 Logoped ve zdravotnictví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13 Asistent ochrany a podpory veřejného zdraví</c:v>
                </c:pt>
                <c:pt idx="27">
                  <c:v>§ 14 Ortotik-protetik</c:v>
                </c:pt>
                <c:pt idx="28">
                  <c:v>§ 25 Radiologický fyz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41 Autoptický laborant</c:v>
                </c:pt>
                <c:pt idx="34">
                  <c:v>§ 21 Radiologický technik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3541</c:v>
                </c:pt>
                <c:pt idx="1">
                  <c:v>1593</c:v>
                </c:pt>
                <c:pt idx="2">
                  <c:v>1348</c:v>
                </c:pt>
                <c:pt idx="3">
                  <c:v>1156</c:v>
                </c:pt>
                <c:pt idx="4">
                  <c:v>1089</c:v>
                </c:pt>
                <c:pt idx="5">
                  <c:v>808</c:v>
                </c:pt>
                <c:pt idx="6">
                  <c:v>604</c:v>
                </c:pt>
                <c:pt idx="7">
                  <c:v>587</c:v>
                </c:pt>
                <c:pt idx="8">
                  <c:v>474</c:v>
                </c:pt>
                <c:pt idx="9">
                  <c:v>447</c:v>
                </c:pt>
                <c:pt idx="10">
                  <c:v>420</c:v>
                </c:pt>
                <c:pt idx="11">
                  <c:v>341</c:v>
                </c:pt>
                <c:pt idx="12">
                  <c:v>256</c:v>
                </c:pt>
                <c:pt idx="13">
                  <c:v>214</c:v>
                </c:pt>
                <c:pt idx="14">
                  <c:v>205</c:v>
                </c:pt>
                <c:pt idx="15">
                  <c:v>186</c:v>
                </c:pt>
                <c:pt idx="16">
                  <c:v>148</c:v>
                </c:pt>
                <c:pt idx="17">
                  <c:v>138</c:v>
                </c:pt>
                <c:pt idx="18">
                  <c:v>129</c:v>
                </c:pt>
                <c:pt idx="19">
                  <c:v>127</c:v>
                </c:pt>
                <c:pt idx="20">
                  <c:v>117</c:v>
                </c:pt>
                <c:pt idx="21">
                  <c:v>104</c:v>
                </c:pt>
                <c:pt idx="22">
                  <c:v>61</c:v>
                </c:pt>
                <c:pt idx="23">
                  <c:v>41</c:v>
                </c:pt>
                <c:pt idx="24">
                  <c:v>31</c:v>
                </c:pt>
                <c:pt idx="25">
                  <c:v>30</c:v>
                </c:pt>
                <c:pt idx="26">
                  <c:v>20</c:v>
                </c:pt>
                <c:pt idx="27">
                  <c:v>18</c:v>
                </c:pt>
                <c:pt idx="28">
                  <c:v>18</c:v>
                </c:pt>
                <c:pt idx="29">
                  <c:v>14</c:v>
                </c:pt>
                <c:pt idx="30">
                  <c:v>9</c:v>
                </c:pt>
                <c:pt idx="31">
                  <c:v>8</c:v>
                </c:pt>
                <c:pt idx="32">
                  <c:v>8</c:v>
                </c:pt>
                <c:pt idx="33">
                  <c:v>4</c:v>
                </c:pt>
                <c:pt idx="34">
                  <c:v>2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39 Zubní instrumentářka</c:v>
                </c:pt>
                <c:pt idx="7">
                  <c:v>§ 18 Zdravotnický záchranář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22 Psycholog ve zdravotnictví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23 Logoped ve zdravotnictví</c:v>
                </c:pt>
                <c:pt idx="18">
                  <c:v>§ 7 Ergoterapeut</c:v>
                </c:pt>
                <c:pt idx="19">
                  <c:v>§ 11 Optometrista</c:v>
                </c:pt>
                <c:pt idx="20">
                  <c:v>§ 10 Zdravotně-sociální pracovník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5 Radiologický fyzik</c:v>
                </c:pt>
                <c:pt idx="26">
                  <c:v>§ 28 Odborný pracovník v ochraně a podpoře veřejného zdraví</c:v>
                </c:pt>
                <c:pt idx="27">
                  <c:v>§ 13 Asistent ochrany a podpory veřejného zdraví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2 Nutriční asistent</c:v>
                </c:pt>
                <c:pt idx="32">
                  <c:v>§ 41 Autoptický laborant</c:v>
                </c:pt>
                <c:pt idx="33">
                  <c:v>§ 21 Radiologický technik</c:v>
                </c:pt>
                <c:pt idx="34">
                  <c:v>§ 23a Zrakový terapeut</c:v>
                </c:pt>
                <c:pt idx="35">
                  <c:v>§ 31 Ortoticko-protetický technik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1167</c:v>
                </c:pt>
                <c:pt idx="1">
                  <c:v>666</c:v>
                </c:pt>
                <c:pt idx="2">
                  <c:v>570</c:v>
                </c:pt>
                <c:pt idx="3">
                  <c:v>517</c:v>
                </c:pt>
                <c:pt idx="4">
                  <c:v>425</c:v>
                </c:pt>
                <c:pt idx="5">
                  <c:v>270</c:v>
                </c:pt>
                <c:pt idx="6">
                  <c:v>238</c:v>
                </c:pt>
                <c:pt idx="7">
                  <c:v>226</c:v>
                </c:pt>
                <c:pt idx="8">
                  <c:v>218</c:v>
                </c:pt>
                <c:pt idx="9">
                  <c:v>181</c:v>
                </c:pt>
                <c:pt idx="10">
                  <c:v>159</c:v>
                </c:pt>
                <c:pt idx="11">
                  <c:v>119</c:v>
                </c:pt>
                <c:pt idx="12">
                  <c:v>94</c:v>
                </c:pt>
                <c:pt idx="13">
                  <c:v>85</c:v>
                </c:pt>
                <c:pt idx="14">
                  <c:v>77</c:v>
                </c:pt>
                <c:pt idx="15">
                  <c:v>72</c:v>
                </c:pt>
                <c:pt idx="16">
                  <c:v>66</c:v>
                </c:pt>
                <c:pt idx="17">
                  <c:v>63</c:v>
                </c:pt>
                <c:pt idx="18">
                  <c:v>56</c:v>
                </c:pt>
                <c:pt idx="19">
                  <c:v>55</c:v>
                </c:pt>
                <c:pt idx="20">
                  <c:v>47</c:v>
                </c:pt>
                <c:pt idx="21">
                  <c:v>39</c:v>
                </c:pt>
                <c:pt idx="22">
                  <c:v>26</c:v>
                </c:pt>
                <c:pt idx="23">
                  <c:v>17</c:v>
                </c:pt>
                <c:pt idx="24">
                  <c:v>14</c:v>
                </c:pt>
                <c:pt idx="25">
                  <c:v>12</c:v>
                </c:pt>
                <c:pt idx="26">
                  <c:v>11</c:v>
                </c:pt>
                <c:pt idx="27">
                  <c:v>8</c:v>
                </c:pt>
                <c:pt idx="28">
                  <c:v>6</c:v>
                </c:pt>
                <c:pt idx="29">
                  <c:v>6</c:v>
                </c:pt>
                <c:pt idx="30">
                  <c:v>5</c:v>
                </c:pt>
                <c:pt idx="31">
                  <c:v>3</c:v>
                </c:pt>
                <c:pt idx="32">
                  <c:v>3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564406152739097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18.06.21</c:v>
                </c:pt>
                <c:pt idx="1">
                  <c:v>19.06.21</c:v>
                </c:pt>
                <c:pt idx="2">
                  <c:v>20.06.21</c:v>
                </c:pt>
                <c:pt idx="3">
                  <c:v>21.06.21</c:v>
                </c:pt>
                <c:pt idx="4">
                  <c:v>22.06.21</c:v>
                </c:pt>
                <c:pt idx="5">
                  <c:v>23.06.21</c:v>
                </c:pt>
                <c:pt idx="6">
                  <c:v>24.06.21</c:v>
                </c:pt>
                <c:pt idx="7">
                  <c:v>25.06.21</c:v>
                </c:pt>
                <c:pt idx="8">
                  <c:v>26.06.21</c:v>
                </c:pt>
                <c:pt idx="9">
                  <c:v>27.06.21</c:v>
                </c:pt>
                <c:pt idx="10">
                  <c:v>28.06.21</c:v>
                </c:pt>
                <c:pt idx="11">
                  <c:v>29.06.21</c:v>
                </c:pt>
                <c:pt idx="12">
                  <c:v>30.06.21</c:v>
                </c:pt>
                <c:pt idx="13">
                  <c:v>01.07.21</c:v>
                </c:pt>
                <c:pt idx="14">
                  <c:v>02.07.21</c:v>
                </c:pt>
                <c:pt idx="15">
                  <c:v>03.07.21</c:v>
                </c:pt>
                <c:pt idx="16">
                  <c:v>04.07.21</c:v>
                </c:pt>
                <c:pt idx="17">
                  <c:v>05.07.21</c:v>
                </c:pt>
                <c:pt idx="18">
                  <c:v>06.07.21</c:v>
                </c:pt>
                <c:pt idx="19">
                  <c:v>07.07.21</c:v>
                </c:pt>
                <c:pt idx="20">
                  <c:v>08.07.21</c:v>
                </c:pt>
                <c:pt idx="21">
                  <c:v>09.07.21</c:v>
                </c:pt>
                <c:pt idx="22">
                  <c:v>10.07.21</c:v>
                </c:pt>
                <c:pt idx="23">
                  <c:v>11.07.21</c:v>
                </c:pt>
                <c:pt idx="24">
                  <c:v>12.07.21</c:v>
                </c:pt>
                <c:pt idx="25">
                  <c:v>13.07.21</c:v>
                </c:pt>
                <c:pt idx="26">
                  <c:v>14.07.21</c:v>
                </c:pt>
                <c:pt idx="27">
                  <c:v>15.07.21</c:v>
                </c:pt>
                <c:pt idx="28">
                  <c:v>16.07.21</c:v>
                </c:pt>
                <c:pt idx="29">
                  <c:v>17.07.21</c:v>
                </c:pt>
                <c:pt idx="30">
                  <c:v>18.07.21</c:v>
                </c:pt>
                <c:pt idx="31">
                  <c:v>19.07.21</c:v>
                </c:pt>
                <c:pt idx="32">
                  <c:v>20.07.21</c:v>
                </c:pt>
                <c:pt idx="33">
                  <c:v>21.07.21</c:v>
                </c:pt>
                <c:pt idx="34">
                  <c:v>22.07.21</c:v>
                </c:pt>
                <c:pt idx="35">
                  <c:v>23.07.21</c:v>
                </c:pt>
                <c:pt idx="36">
                  <c:v>24.07.21</c:v>
                </c:pt>
                <c:pt idx="37">
                  <c:v>25.07.21</c:v>
                </c:pt>
                <c:pt idx="38">
                  <c:v>26.07.21</c:v>
                </c:pt>
                <c:pt idx="39">
                  <c:v>27.07.21</c:v>
                </c:pt>
                <c:pt idx="40">
                  <c:v>28.07.21</c:v>
                </c:pt>
                <c:pt idx="41">
                  <c:v>29.07.21</c:v>
                </c:pt>
                <c:pt idx="42">
                  <c:v>30.07.21</c:v>
                </c:pt>
                <c:pt idx="43">
                  <c:v>31.07.21</c:v>
                </c:pt>
                <c:pt idx="44">
                  <c:v>01.08.21</c:v>
                </c:pt>
                <c:pt idx="45">
                  <c:v>02.08.21</c:v>
                </c:pt>
                <c:pt idx="46">
                  <c:v>03.08.21</c:v>
                </c:pt>
                <c:pt idx="47">
                  <c:v>04.08.21</c:v>
                </c:pt>
                <c:pt idx="48">
                  <c:v>05.08.21</c:v>
                </c:pt>
                <c:pt idx="49">
                  <c:v>06.08.21</c:v>
                </c:pt>
                <c:pt idx="50">
                  <c:v>07.08.21</c:v>
                </c:pt>
                <c:pt idx="51">
                  <c:v>08.08.21</c:v>
                </c:pt>
                <c:pt idx="52">
                  <c:v>09.08.21</c:v>
                </c:pt>
                <c:pt idx="53">
                  <c:v>10.08.21</c:v>
                </c:pt>
                <c:pt idx="54">
                  <c:v>11.08.21</c:v>
                </c:pt>
                <c:pt idx="55">
                  <c:v>12.08.21</c:v>
                </c:pt>
                <c:pt idx="56">
                  <c:v>13.08.21</c:v>
                </c:pt>
                <c:pt idx="57">
                  <c:v>14.08.21</c:v>
                </c:pt>
                <c:pt idx="58">
                  <c:v>15.08.21</c:v>
                </c:pt>
                <c:pt idx="59">
                  <c:v>16.08.21</c:v>
                </c:pt>
                <c:pt idx="60">
                  <c:v>17.08.21</c:v>
                </c:pt>
                <c:pt idx="61">
                  <c:v>18.08.21</c:v>
                </c:pt>
                <c:pt idx="62">
                  <c:v>19.08.21</c:v>
                </c:pt>
                <c:pt idx="63">
                  <c:v>20.08.21</c:v>
                </c:pt>
                <c:pt idx="64">
                  <c:v>21.08.21</c:v>
                </c:pt>
                <c:pt idx="65">
                  <c:v>22.08.21</c:v>
                </c:pt>
                <c:pt idx="66">
                  <c:v>23.08.21</c:v>
                </c:pt>
                <c:pt idx="67">
                  <c:v>24.08.21</c:v>
                </c:pt>
                <c:pt idx="68">
                  <c:v>25.08.21</c:v>
                </c:pt>
                <c:pt idx="69">
                  <c:v>26.08.21</c:v>
                </c:pt>
                <c:pt idx="70">
                  <c:v>27.08.21</c:v>
                </c:pt>
                <c:pt idx="71">
                  <c:v>28.08.21</c:v>
                </c:pt>
                <c:pt idx="72">
                  <c:v>29.08.21</c:v>
                </c:pt>
                <c:pt idx="73">
                  <c:v>30.08.21</c:v>
                </c:pt>
                <c:pt idx="74">
                  <c:v>31.08.21</c:v>
                </c:pt>
                <c:pt idx="75">
                  <c:v>01.09.21</c:v>
                </c:pt>
                <c:pt idx="76">
                  <c:v>02.09.21</c:v>
                </c:pt>
                <c:pt idx="77">
                  <c:v>03.09.21</c:v>
                </c:pt>
                <c:pt idx="78">
                  <c:v>04.09.21</c:v>
                </c:pt>
                <c:pt idx="79">
                  <c:v>05.09.21</c:v>
                </c:pt>
                <c:pt idx="80">
                  <c:v>06.09.21</c:v>
                </c:pt>
                <c:pt idx="81">
                  <c:v>07.09.21</c:v>
                </c:pt>
                <c:pt idx="82">
                  <c:v>08.09.21</c:v>
                </c:pt>
                <c:pt idx="83">
                  <c:v>09.09.21</c:v>
                </c:pt>
                <c:pt idx="84">
                  <c:v>10.09.21</c:v>
                </c:pt>
                <c:pt idx="85">
                  <c:v>11.09.21</c:v>
                </c:pt>
                <c:pt idx="86">
                  <c:v>12.09.21</c:v>
                </c:pt>
                <c:pt idx="87">
                  <c:v>13.09.21</c:v>
                </c:pt>
                <c:pt idx="88">
                  <c:v>14.09.21</c:v>
                </c:pt>
                <c:pt idx="89">
                  <c:v>15.09.21</c:v>
                </c:pt>
                <c:pt idx="90">
                  <c:v>16.09.21</c:v>
                </c:pt>
                <c:pt idx="91">
                  <c:v>17.09.21</c:v>
                </c:pt>
                <c:pt idx="92">
                  <c:v>18.09.21</c:v>
                </c:pt>
                <c:pt idx="93">
                  <c:v>19.09.21</c:v>
                </c:pt>
                <c:pt idx="94">
                  <c:v>20.09.21</c:v>
                </c:pt>
                <c:pt idx="95">
                  <c:v>21.09.21</c:v>
                </c:pt>
                <c:pt idx="96">
                  <c:v>22.09.21</c:v>
                </c:pt>
                <c:pt idx="97">
                  <c:v>23.09.21</c:v>
                </c:pt>
                <c:pt idx="98">
                  <c:v>24.09.21</c:v>
                </c:pt>
                <c:pt idx="99">
                  <c:v>25.09.21</c:v>
                </c:pt>
                <c:pt idx="100">
                  <c:v>26.09.21</c:v>
                </c:pt>
                <c:pt idx="101">
                  <c:v>27.09.21</c:v>
                </c:pt>
                <c:pt idx="102">
                  <c:v>28.09.21</c:v>
                </c:pt>
                <c:pt idx="103">
                  <c:v>29.09.21</c:v>
                </c:pt>
                <c:pt idx="104">
                  <c:v>30.09.21</c:v>
                </c:pt>
                <c:pt idx="105">
                  <c:v>01.10.21</c:v>
                </c:pt>
                <c:pt idx="106">
                  <c:v>02.10.21</c:v>
                </c:pt>
                <c:pt idx="107">
                  <c:v>03.10.21</c:v>
                </c:pt>
                <c:pt idx="108">
                  <c:v>04.10.21</c:v>
                </c:pt>
                <c:pt idx="109">
                  <c:v>05.10.21</c:v>
                </c:pt>
                <c:pt idx="110">
                  <c:v>06.10.21</c:v>
                </c:pt>
                <c:pt idx="111">
                  <c:v>07.10.21</c:v>
                </c:pt>
                <c:pt idx="112">
                  <c:v>08.10.21</c:v>
                </c:pt>
                <c:pt idx="113">
                  <c:v>09.10.21</c:v>
                </c:pt>
                <c:pt idx="114">
                  <c:v>10.10.21</c:v>
                </c:pt>
                <c:pt idx="115">
                  <c:v>11.10.21</c:v>
                </c:pt>
                <c:pt idx="116">
                  <c:v>12.10.21</c:v>
                </c:pt>
                <c:pt idx="117">
                  <c:v>13.10.21</c:v>
                </c:pt>
                <c:pt idx="118">
                  <c:v>14.10.21</c:v>
                </c:pt>
                <c:pt idx="119">
                  <c:v>15.10.21</c:v>
                </c:pt>
                <c:pt idx="120">
                  <c:v>16.10.21</c:v>
                </c:pt>
                <c:pt idx="121">
                  <c:v>17.10.21</c:v>
                </c:pt>
                <c:pt idx="122">
                  <c:v>18.10.21</c:v>
                </c:pt>
                <c:pt idx="123">
                  <c:v>19.10.21</c:v>
                </c:pt>
                <c:pt idx="124">
                  <c:v>20.10.21</c:v>
                </c:pt>
                <c:pt idx="125">
                  <c:v>21.10.21</c:v>
                </c:pt>
                <c:pt idx="126">
                  <c:v>22.10.21</c:v>
                </c:pt>
                <c:pt idx="127">
                  <c:v>23.10.21</c:v>
                </c:pt>
                <c:pt idx="128">
                  <c:v>24.10.21</c:v>
                </c:pt>
                <c:pt idx="129">
                  <c:v>25.10.21</c:v>
                </c:pt>
                <c:pt idx="130">
                  <c:v>26.10.21</c:v>
                </c:pt>
                <c:pt idx="131">
                  <c:v>27.10.21</c:v>
                </c:pt>
                <c:pt idx="132">
                  <c:v>28.10.21</c:v>
                </c:pt>
                <c:pt idx="133">
                  <c:v>29.10.21</c:v>
                </c:pt>
                <c:pt idx="134">
                  <c:v>30.10.21</c:v>
                </c:pt>
                <c:pt idx="135">
                  <c:v>31.10.21</c:v>
                </c:pt>
                <c:pt idx="136">
                  <c:v>01.11.21</c:v>
                </c:pt>
                <c:pt idx="137">
                  <c:v>02.11.21</c:v>
                </c:pt>
                <c:pt idx="138">
                  <c:v>03.11.21</c:v>
                </c:pt>
                <c:pt idx="139">
                  <c:v>04.11.21</c:v>
                </c:pt>
                <c:pt idx="140">
                  <c:v>05.11.21</c:v>
                </c:pt>
                <c:pt idx="141">
                  <c:v>06.11.21</c:v>
                </c:pt>
                <c:pt idx="142">
                  <c:v>07.11.21</c:v>
                </c:pt>
                <c:pt idx="143">
                  <c:v>08.11.21</c:v>
                </c:pt>
                <c:pt idx="144">
                  <c:v>09.11.21</c:v>
                </c:pt>
                <c:pt idx="145">
                  <c:v>10.11.21</c:v>
                </c:pt>
                <c:pt idx="146">
                  <c:v>11.11.21</c:v>
                </c:pt>
                <c:pt idx="147">
                  <c:v>12.11.21</c:v>
                </c:pt>
                <c:pt idx="148">
                  <c:v>13.11.21</c:v>
                </c:pt>
                <c:pt idx="149">
                  <c:v>14.11.21</c:v>
                </c:pt>
                <c:pt idx="150">
                  <c:v>15.11.21</c:v>
                </c:pt>
                <c:pt idx="151">
                  <c:v>16.11.21</c:v>
                </c:pt>
                <c:pt idx="152">
                  <c:v>17.11.21</c:v>
                </c:pt>
                <c:pt idx="153">
                  <c:v>18.11.21</c:v>
                </c:pt>
                <c:pt idx="154">
                  <c:v>19.11.21</c:v>
                </c:pt>
                <c:pt idx="155">
                  <c:v>20.11.21</c:v>
                </c:pt>
                <c:pt idx="156">
                  <c:v>21.11.21</c:v>
                </c:pt>
                <c:pt idx="157">
                  <c:v>22.11.21</c:v>
                </c:pt>
                <c:pt idx="158">
                  <c:v>23.11.21</c:v>
                </c:pt>
                <c:pt idx="159">
                  <c:v>24.11.21</c:v>
                </c:pt>
                <c:pt idx="160">
                  <c:v>25.11.21</c:v>
                </c:pt>
                <c:pt idx="161">
                  <c:v>26.11.21</c:v>
                </c:pt>
                <c:pt idx="162">
                  <c:v>27.11.21</c:v>
                </c:pt>
                <c:pt idx="163">
                  <c:v>28.11.21</c:v>
                </c:pt>
                <c:pt idx="164">
                  <c:v>29.11.21</c:v>
                </c:pt>
                <c:pt idx="165">
                  <c:v>30.11.21</c:v>
                </c:pt>
                <c:pt idx="166">
                  <c:v>01.12.21</c:v>
                </c:pt>
                <c:pt idx="167">
                  <c:v>02.12.21</c:v>
                </c:pt>
                <c:pt idx="168">
                  <c:v>03.12.21</c:v>
                </c:pt>
                <c:pt idx="169">
                  <c:v>04.12.21</c:v>
                </c:pt>
                <c:pt idx="170">
                  <c:v>05.12.21</c:v>
                </c:pt>
                <c:pt idx="171">
                  <c:v>06.12.21</c:v>
                </c:pt>
                <c:pt idx="172">
                  <c:v>07.12.21</c:v>
                </c:pt>
                <c:pt idx="173">
                  <c:v>08.12.21</c:v>
                </c:pt>
                <c:pt idx="174">
                  <c:v>09.12.21</c:v>
                </c:pt>
                <c:pt idx="175">
                  <c:v>10.12.21</c:v>
                </c:pt>
                <c:pt idx="176">
                  <c:v>11.12.21</c:v>
                </c:pt>
                <c:pt idx="177">
                  <c:v>12.12.21</c:v>
                </c:pt>
                <c:pt idx="178">
                  <c:v>13.12.21</c:v>
                </c:pt>
                <c:pt idx="179">
                  <c:v>14.12.21</c:v>
                </c:pt>
                <c:pt idx="180">
                  <c:v>15.12.21</c:v>
                </c:pt>
                <c:pt idx="181">
                  <c:v>16.12.21</c:v>
                </c:pt>
                <c:pt idx="182">
                  <c:v>17.12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2</c:v>
                </c:pt>
                <c:pt idx="30">
                  <c:v>1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4</c:v>
                </c:pt>
                <c:pt idx="35">
                  <c:v>0</c:v>
                </c:pt>
                <c:pt idx="36">
                  <c:v>0</c:v>
                </c:pt>
                <c:pt idx="37">
                  <c:v>1</c:v>
                </c:pt>
                <c:pt idx="38">
                  <c:v>3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2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6</c:v>
                </c:pt>
                <c:pt idx="48">
                  <c:v>1</c:v>
                </c:pt>
                <c:pt idx="49">
                  <c:v>2</c:v>
                </c:pt>
                <c:pt idx="50">
                  <c:v>0</c:v>
                </c:pt>
                <c:pt idx="51">
                  <c:v>2</c:v>
                </c:pt>
                <c:pt idx="52">
                  <c:v>2</c:v>
                </c:pt>
                <c:pt idx="53">
                  <c:v>0</c:v>
                </c:pt>
                <c:pt idx="54">
                  <c:v>3</c:v>
                </c:pt>
                <c:pt idx="55">
                  <c:v>1</c:v>
                </c:pt>
                <c:pt idx="56">
                  <c:v>1</c:v>
                </c:pt>
                <c:pt idx="57">
                  <c:v>0</c:v>
                </c:pt>
                <c:pt idx="58">
                  <c:v>0</c:v>
                </c:pt>
                <c:pt idx="59">
                  <c:v>3</c:v>
                </c:pt>
                <c:pt idx="60">
                  <c:v>0</c:v>
                </c:pt>
                <c:pt idx="61">
                  <c:v>0</c:v>
                </c:pt>
                <c:pt idx="62">
                  <c:v>1</c:v>
                </c:pt>
                <c:pt idx="63">
                  <c:v>1</c:v>
                </c:pt>
                <c:pt idx="64">
                  <c:v>0</c:v>
                </c:pt>
                <c:pt idx="65">
                  <c:v>0</c:v>
                </c:pt>
                <c:pt idx="66">
                  <c:v>2</c:v>
                </c:pt>
                <c:pt idx="67">
                  <c:v>0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0</c:v>
                </c:pt>
                <c:pt idx="73">
                  <c:v>0</c:v>
                </c:pt>
                <c:pt idx="74">
                  <c:v>4</c:v>
                </c:pt>
                <c:pt idx="75">
                  <c:v>4</c:v>
                </c:pt>
                <c:pt idx="76">
                  <c:v>1</c:v>
                </c:pt>
                <c:pt idx="77">
                  <c:v>1</c:v>
                </c:pt>
                <c:pt idx="78">
                  <c:v>3</c:v>
                </c:pt>
                <c:pt idx="79">
                  <c:v>1</c:v>
                </c:pt>
                <c:pt idx="80">
                  <c:v>0</c:v>
                </c:pt>
                <c:pt idx="81">
                  <c:v>2</c:v>
                </c:pt>
                <c:pt idx="82">
                  <c:v>0</c:v>
                </c:pt>
                <c:pt idx="83">
                  <c:v>0</c:v>
                </c:pt>
                <c:pt idx="84">
                  <c:v>3</c:v>
                </c:pt>
                <c:pt idx="85">
                  <c:v>3</c:v>
                </c:pt>
                <c:pt idx="86">
                  <c:v>0</c:v>
                </c:pt>
                <c:pt idx="87">
                  <c:v>4</c:v>
                </c:pt>
                <c:pt idx="88">
                  <c:v>2</c:v>
                </c:pt>
                <c:pt idx="89">
                  <c:v>0</c:v>
                </c:pt>
                <c:pt idx="90">
                  <c:v>1</c:v>
                </c:pt>
                <c:pt idx="91">
                  <c:v>2</c:v>
                </c:pt>
                <c:pt idx="92">
                  <c:v>1</c:v>
                </c:pt>
                <c:pt idx="93">
                  <c:v>1</c:v>
                </c:pt>
                <c:pt idx="94">
                  <c:v>0</c:v>
                </c:pt>
                <c:pt idx="95">
                  <c:v>3</c:v>
                </c:pt>
                <c:pt idx="96">
                  <c:v>3</c:v>
                </c:pt>
                <c:pt idx="97">
                  <c:v>2</c:v>
                </c:pt>
                <c:pt idx="98">
                  <c:v>3</c:v>
                </c:pt>
                <c:pt idx="99">
                  <c:v>0</c:v>
                </c:pt>
                <c:pt idx="100">
                  <c:v>2</c:v>
                </c:pt>
                <c:pt idx="101">
                  <c:v>6</c:v>
                </c:pt>
                <c:pt idx="102">
                  <c:v>4</c:v>
                </c:pt>
                <c:pt idx="103">
                  <c:v>3</c:v>
                </c:pt>
                <c:pt idx="104">
                  <c:v>9</c:v>
                </c:pt>
                <c:pt idx="105">
                  <c:v>2</c:v>
                </c:pt>
                <c:pt idx="106">
                  <c:v>5</c:v>
                </c:pt>
                <c:pt idx="107">
                  <c:v>1</c:v>
                </c:pt>
                <c:pt idx="108">
                  <c:v>0</c:v>
                </c:pt>
                <c:pt idx="109">
                  <c:v>2</c:v>
                </c:pt>
                <c:pt idx="110">
                  <c:v>5</c:v>
                </c:pt>
                <c:pt idx="111">
                  <c:v>6</c:v>
                </c:pt>
                <c:pt idx="112">
                  <c:v>6</c:v>
                </c:pt>
                <c:pt idx="113">
                  <c:v>1</c:v>
                </c:pt>
                <c:pt idx="114">
                  <c:v>1</c:v>
                </c:pt>
                <c:pt idx="115">
                  <c:v>3</c:v>
                </c:pt>
                <c:pt idx="116">
                  <c:v>10</c:v>
                </c:pt>
                <c:pt idx="117">
                  <c:v>7</c:v>
                </c:pt>
                <c:pt idx="118">
                  <c:v>7</c:v>
                </c:pt>
                <c:pt idx="119">
                  <c:v>6</c:v>
                </c:pt>
                <c:pt idx="120">
                  <c:v>5</c:v>
                </c:pt>
                <c:pt idx="121">
                  <c:v>8</c:v>
                </c:pt>
                <c:pt idx="122">
                  <c:v>17</c:v>
                </c:pt>
                <c:pt idx="123">
                  <c:v>16</c:v>
                </c:pt>
                <c:pt idx="124">
                  <c:v>13</c:v>
                </c:pt>
                <c:pt idx="125">
                  <c:v>13</c:v>
                </c:pt>
                <c:pt idx="126">
                  <c:v>16</c:v>
                </c:pt>
                <c:pt idx="127">
                  <c:v>13</c:v>
                </c:pt>
                <c:pt idx="128">
                  <c:v>12</c:v>
                </c:pt>
                <c:pt idx="129">
                  <c:v>29</c:v>
                </c:pt>
                <c:pt idx="130">
                  <c:v>20</c:v>
                </c:pt>
                <c:pt idx="131">
                  <c:v>23</c:v>
                </c:pt>
                <c:pt idx="132">
                  <c:v>22</c:v>
                </c:pt>
                <c:pt idx="133">
                  <c:v>36</c:v>
                </c:pt>
                <c:pt idx="134">
                  <c:v>21</c:v>
                </c:pt>
                <c:pt idx="135">
                  <c:v>18</c:v>
                </c:pt>
                <c:pt idx="136">
                  <c:v>55</c:v>
                </c:pt>
                <c:pt idx="137">
                  <c:v>38</c:v>
                </c:pt>
                <c:pt idx="138">
                  <c:v>38</c:v>
                </c:pt>
                <c:pt idx="139">
                  <c:v>27</c:v>
                </c:pt>
                <c:pt idx="140">
                  <c:v>40</c:v>
                </c:pt>
                <c:pt idx="141">
                  <c:v>20</c:v>
                </c:pt>
                <c:pt idx="142">
                  <c:v>18</c:v>
                </c:pt>
                <c:pt idx="143">
                  <c:v>52</c:v>
                </c:pt>
                <c:pt idx="144">
                  <c:v>46</c:v>
                </c:pt>
                <c:pt idx="145">
                  <c:v>48</c:v>
                </c:pt>
                <c:pt idx="146">
                  <c:v>50</c:v>
                </c:pt>
                <c:pt idx="147">
                  <c:v>42</c:v>
                </c:pt>
                <c:pt idx="148">
                  <c:v>49</c:v>
                </c:pt>
                <c:pt idx="149">
                  <c:v>22</c:v>
                </c:pt>
                <c:pt idx="150">
                  <c:v>62</c:v>
                </c:pt>
                <c:pt idx="151">
                  <c:v>57</c:v>
                </c:pt>
                <c:pt idx="152">
                  <c:v>44</c:v>
                </c:pt>
                <c:pt idx="153">
                  <c:v>52</c:v>
                </c:pt>
                <c:pt idx="154">
                  <c:v>78</c:v>
                </c:pt>
                <c:pt idx="155">
                  <c:v>44</c:v>
                </c:pt>
                <c:pt idx="156">
                  <c:v>31</c:v>
                </c:pt>
                <c:pt idx="157">
                  <c:v>60</c:v>
                </c:pt>
                <c:pt idx="158">
                  <c:v>71</c:v>
                </c:pt>
                <c:pt idx="159">
                  <c:v>41</c:v>
                </c:pt>
                <c:pt idx="160">
                  <c:v>64</c:v>
                </c:pt>
                <c:pt idx="161">
                  <c:v>54</c:v>
                </c:pt>
                <c:pt idx="162">
                  <c:v>33</c:v>
                </c:pt>
                <c:pt idx="163">
                  <c:v>40</c:v>
                </c:pt>
                <c:pt idx="164">
                  <c:v>57</c:v>
                </c:pt>
                <c:pt idx="165">
                  <c:v>46</c:v>
                </c:pt>
                <c:pt idx="166">
                  <c:v>53</c:v>
                </c:pt>
                <c:pt idx="167">
                  <c:v>38</c:v>
                </c:pt>
                <c:pt idx="168">
                  <c:v>50</c:v>
                </c:pt>
                <c:pt idx="169">
                  <c:v>24</c:v>
                </c:pt>
                <c:pt idx="170">
                  <c:v>15</c:v>
                </c:pt>
                <c:pt idx="171">
                  <c:v>45</c:v>
                </c:pt>
                <c:pt idx="172">
                  <c:v>39</c:v>
                </c:pt>
                <c:pt idx="173">
                  <c:v>30</c:v>
                </c:pt>
                <c:pt idx="174">
                  <c:v>30</c:v>
                </c:pt>
                <c:pt idx="175">
                  <c:v>33</c:v>
                </c:pt>
                <c:pt idx="176">
                  <c:v>19</c:v>
                </c:pt>
                <c:pt idx="177">
                  <c:v>11</c:v>
                </c:pt>
                <c:pt idx="178">
                  <c:v>29</c:v>
                </c:pt>
                <c:pt idx="179">
                  <c:v>24</c:v>
                </c:pt>
                <c:pt idx="180">
                  <c:v>22</c:v>
                </c:pt>
                <c:pt idx="181">
                  <c:v>15</c:v>
                </c:pt>
                <c:pt idx="182">
                  <c:v>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0"/>
                  <c:y val="-2.33118653806087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084775854416336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18.06.21</c:v>
                </c:pt>
                <c:pt idx="1">
                  <c:v>19.06.21</c:v>
                </c:pt>
                <c:pt idx="2">
                  <c:v>20.06.21</c:v>
                </c:pt>
                <c:pt idx="3">
                  <c:v>21.06.21</c:v>
                </c:pt>
                <c:pt idx="4">
                  <c:v>22.06.21</c:v>
                </c:pt>
                <c:pt idx="5">
                  <c:v>23.06.21</c:v>
                </c:pt>
                <c:pt idx="6">
                  <c:v>24.06.21</c:v>
                </c:pt>
                <c:pt idx="7">
                  <c:v>25.06.21</c:v>
                </c:pt>
                <c:pt idx="8">
                  <c:v>26.06.21</c:v>
                </c:pt>
                <c:pt idx="9">
                  <c:v>27.06.21</c:v>
                </c:pt>
                <c:pt idx="10">
                  <c:v>28.06.21</c:v>
                </c:pt>
                <c:pt idx="11">
                  <c:v>29.06.21</c:v>
                </c:pt>
                <c:pt idx="12">
                  <c:v>30.06.21</c:v>
                </c:pt>
                <c:pt idx="13">
                  <c:v>01.07.21</c:v>
                </c:pt>
                <c:pt idx="14">
                  <c:v>02.07.21</c:v>
                </c:pt>
                <c:pt idx="15">
                  <c:v>03.07.21</c:v>
                </c:pt>
                <c:pt idx="16">
                  <c:v>04.07.21</c:v>
                </c:pt>
                <c:pt idx="17">
                  <c:v>05.07.21</c:v>
                </c:pt>
                <c:pt idx="18">
                  <c:v>06.07.21</c:v>
                </c:pt>
                <c:pt idx="19">
                  <c:v>07.07.21</c:v>
                </c:pt>
                <c:pt idx="20">
                  <c:v>08.07.21</c:v>
                </c:pt>
                <c:pt idx="21">
                  <c:v>09.07.21</c:v>
                </c:pt>
                <c:pt idx="22">
                  <c:v>10.07.21</c:v>
                </c:pt>
                <c:pt idx="23">
                  <c:v>11.07.21</c:v>
                </c:pt>
                <c:pt idx="24">
                  <c:v>12.07.21</c:v>
                </c:pt>
                <c:pt idx="25">
                  <c:v>13.07.21</c:v>
                </c:pt>
                <c:pt idx="26">
                  <c:v>14.07.21</c:v>
                </c:pt>
                <c:pt idx="27">
                  <c:v>15.07.21</c:v>
                </c:pt>
                <c:pt idx="28">
                  <c:v>16.07.21</c:v>
                </c:pt>
                <c:pt idx="29">
                  <c:v>17.07.21</c:v>
                </c:pt>
                <c:pt idx="30">
                  <c:v>18.07.21</c:v>
                </c:pt>
                <c:pt idx="31">
                  <c:v>19.07.21</c:v>
                </c:pt>
                <c:pt idx="32">
                  <c:v>20.07.21</c:v>
                </c:pt>
                <c:pt idx="33">
                  <c:v>21.07.21</c:v>
                </c:pt>
                <c:pt idx="34">
                  <c:v>22.07.21</c:v>
                </c:pt>
                <c:pt idx="35">
                  <c:v>23.07.21</c:v>
                </c:pt>
                <c:pt idx="36">
                  <c:v>24.07.21</c:v>
                </c:pt>
                <c:pt idx="37">
                  <c:v>25.07.21</c:v>
                </c:pt>
                <c:pt idx="38">
                  <c:v>26.07.21</c:v>
                </c:pt>
                <c:pt idx="39">
                  <c:v>27.07.21</c:v>
                </c:pt>
                <c:pt idx="40">
                  <c:v>28.07.21</c:v>
                </c:pt>
                <c:pt idx="41">
                  <c:v>29.07.21</c:v>
                </c:pt>
                <c:pt idx="42">
                  <c:v>30.07.21</c:v>
                </c:pt>
                <c:pt idx="43">
                  <c:v>31.07.21</c:v>
                </c:pt>
                <c:pt idx="44">
                  <c:v>01.08.21</c:v>
                </c:pt>
                <c:pt idx="45">
                  <c:v>02.08.21</c:v>
                </c:pt>
                <c:pt idx="46">
                  <c:v>03.08.21</c:v>
                </c:pt>
                <c:pt idx="47">
                  <c:v>04.08.21</c:v>
                </c:pt>
                <c:pt idx="48">
                  <c:v>05.08.21</c:v>
                </c:pt>
                <c:pt idx="49">
                  <c:v>06.08.21</c:v>
                </c:pt>
                <c:pt idx="50">
                  <c:v>07.08.21</c:v>
                </c:pt>
                <c:pt idx="51">
                  <c:v>08.08.21</c:v>
                </c:pt>
                <c:pt idx="52">
                  <c:v>09.08.21</c:v>
                </c:pt>
                <c:pt idx="53">
                  <c:v>10.08.21</c:v>
                </c:pt>
                <c:pt idx="54">
                  <c:v>11.08.21</c:v>
                </c:pt>
                <c:pt idx="55">
                  <c:v>12.08.21</c:v>
                </c:pt>
                <c:pt idx="56">
                  <c:v>13.08.21</c:v>
                </c:pt>
                <c:pt idx="57">
                  <c:v>14.08.21</c:v>
                </c:pt>
                <c:pt idx="58">
                  <c:v>15.08.21</c:v>
                </c:pt>
                <c:pt idx="59">
                  <c:v>16.08.21</c:v>
                </c:pt>
                <c:pt idx="60">
                  <c:v>17.08.21</c:v>
                </c:pt>
                <c:pt idx="61">
                  <c:v>18.08.21</c:v>
                </c:pt>
                <c:pt idx="62">
                  <c:v>19.08.21</c:v>
                </c:pt>
                <c:pt idx="63">
                  <c:v>20.08.21</c:v>
                </c:pt>
                <c:pt idx="64">
                  <c:v>21.08.21</c:v>
                </c:pt>
                <c:pt idx="65">
                  <c:v>22.08.21</c:v>
                </c:pt>
                <c:pt idx="66">
                  <c:v>23.08.21</c:v>
                </c:pt>
                <c:pt idx="67">
                  <c:v>24.08.21</c:v>
                </c:pt>
                <c:pt idx="68">
                  <c:v>25.08.21</c:v>
                </c:pt>
                <c:pt idx="69">
                  <c:v>26.08.21</c:v>
                </c:pt>
                <c:pt idx="70">
                  <c:v>27.08.21</c:v>
                </c:pt>
                <c:pt idx="71">
                  <c:v>28.08.21</c:v>
                </c:pt>
                <c:pt idx="72">
                  <c:v>29.08.21</c:v>
                </c:pt>
                <c:pt idx="73">
                  <c:v>30.08.21</c:v>
                </c:pt>
                <c:pt idx="74">
                  <c:v>31.08.21</c:v>
                </c:pt>
                <c:pt idx="75">
                  <c:v>01.09.21</c:v>
                </c:pt>
                <c:pt idx="76">
                  <c:v>02.09.21</c:v>
                </c:pt>
                <c:pt idx="77">
                  <c:v>03.09.21</c:v>
                </c:pt>
                <c:pt idx="78">
                  <c:v>04.09.21</c:v>
                </c:pt>
                <c:pt idx="79">
                  <c:v>05.09.21</c:v>
                </c:pt>
                <c:pt idx="80">
                  <c:v>06.09.21</c:v>
                </c:pt>
                <c:pt idx="81">
                  <c:v>07.09.21</c:v>
                </c:pt>
                <c:pt idx="82">
                  <c:v>08.09.21</c:v>
                </c:pt>
                <c:pt idx="83">
                  <c:v>09.09.21</c:v>
                </c:pt>
                <c:pt idx="84">
                  <c:v>10.09.21</c:v>
                </c:pt>
                <c:pt idx="85">
                  <c:v>11.09.21</c:v>
                </c:pt>
                <c:pt idx="86">
                  <c:v>12.09.21</c:v>
                </c:pt>
                <c:pt idx="87">
                  <c:v>13.09.21</c:v>
                </c:pt>
                <c:pt idx="88">
                  <c:v>14.09.21</c:v>
                </c:pt>
                <c:pt idx="89">
                  <c:v>15.09.21</c:v>
                </c:pt>
                <c:pt idx="90">
                  <c:v>16.09.21</c:v>
                </c:pt>
                <c:pt idx="91">
                  <c:v>17.09.21</c:v>
                </c:pt>
                <c:pt idx="92">
                  <c:v>18.09.21</c:v>
                </c:pt>
                <c:pt idx="93">
                  <c:v>19.09.21</c:v>
                </c:pt>
                <c:pt idx="94">
                  <c:v>20.09.21</c:v>
                </c:pt>
                <c:pt idx="95">
                  <c:v>21.09.21</c:v>
                </c:pt>
                <c:pt idx="96">
                  <c:v>22.09.21</c:v>
                </c:pt>
                <c:pt idx="97">
                  <c:v>23.09.21</c:v>
                </c:pt>
                <c:pt idx="98">
                  <c:v>24.09.21</c:v>
                </c:pt>
                <c:pt idx="99">
                  <c:v>25.09.21</c:v>
                </c:pt>
                <c:pt idx="100">
                  <c:v>26.09.21</c:v>
                </c:pt>
                <c:pt idx="101">
                  <c:v>27.09.21</c:v>
                </c:pt>
                <c:pt idx="102">
                  <c:v>28.09.21</c:v>
                </c:pt>
                <c:pt idx="103">
                  <c:v>29.09.21</c:v>
                </c:pt>
                <c:pt idx="104">
                  <c:v>30.09.21</c:v>
                </c:pt>
                <c:pt idx="105">
                  <c:v>01.10.21</c:v>
                </c:pt>
                <c:pt idx="106">
                  <c:v>02.10.21</c:v>
                </c:pt>
                <c:pt idx="107">
                  <c:v>03.10.21</c:v>
                </c:pt>
                <c:pt idx="108">
                  <c:v>04.10.21</c:v>
                </c:pt>
                <c:pt idx="109">
                  <c:v>05.10.21</c:v>
                </c:pt>
                <c:pt idx="110">
                  <c:v>06.10.21</c:v>
                </c:pt>
                <c:pt idx="111">
                  <c:v>07.10.21</c:v>
                </c:pt>
                <c:pt idx="112">
                  <c:v>08.10.21</c:v>
                </c:pt>
                <c:pt idx="113">
                  <c:v>09.10.21</c:v>
                </c:pt>
                <c:pt idx="114">
                  <c:v>10.10.21</c:v>
                </c:pt>
                <c:pt idx="115">
                  <c:v>11.10.21</c:v>
                </c:pt>
                <c:pt idx="116">
                  <c:v>12.10.21</c:v>
                </c:pt>
                <c:pt idx="117">
                  <c:v>13.10.21</c:v>
                </c:pt>
                <c:pt idx="118">
                  <c:v>14.10.21</c:v>
                </c:pt>
                <c:pt idx="119">
                  <c:v>15.10.21</c:v>
                </c:pt>
                <c:pt idx="120">
                  <c:v>16.10.21</c:v>
                </c:pt>
                <c:pt idx="121">
                  <c:v>17.10.21</c:v>
                </c:pt>
                <c:pt idx="122">
                  <c:v>18.10.21</c:v>
                </c:pt>
                <c:pt idx="123">
                  <c:v>19.10.21</c:v>
                </c:pt>
                <c:pt idx="124">
                  <c:v>20.10.21</c:v>
                </c:pt>
                <c:pt idx="125">
                  <c:v>21.10.21</c:v>
                </c:pt>
                <c:pt idx="126">
                  <c:v>22.10.21</c:v>
                </c:pt>
                <c:pt idx="127">
                  <c:v>23.10.21</c:v>
                </c:pt>
                <c:pt idx="128">
                  <c:v>24.10.21</c:v>
                </c:pt>
                <c:pt idx="129">
                  <c:v>25.10.21</c:v>
                </c:pt>
                <c:pt idx="130">
                  <c:v>26.10.21</c:v>
                </c:pt>
                <c:pt idx="131">
                  <c:v>27.10.21</c:v>
                </c:pt>
                <c:pt idx="132">
                  <c:v>28.10.21</c:v>
                </c:pt>
                <c:pt idx="133">
                  <c:v>29.10.21</c:v>
                </c:pt>
                <c:pt idx="134">
                  <c:v>30.10.21</c:v>
                </c:pt>
                <c:pt idx="135">
                  <c:v>31.10.21</c:v>
                </c:pt>
                <c:pt idx="136">
                  <c:v>01.11.21</c:v>
                </c:pt>
                <c:pt idx="137">
                  <c:v>02.11.21</c:v>
                </c:pt>
                <c:pt idx="138">
                  <c:v>03.11.21</c:v>
                </c:pt>
                <c:pt idx="139">
                  <c:v>04.11.21</c:v>
                </c:pt>
                <c:pt idx="140">
                  <c:v>05.11.21</c:v>
                </c:pt>
                <c:pt idx="141">
                  <c:v>06.11.21</c:v>
                </c:pt>
                <c:pt idx="142">
                  <c:v>07.11.21</c:v>
                </c:pt>
                <c:pt idx="143">
                  <c:v>08.11.21</c:v>
                </c:pt>
                <c:pt idx="144">
                  <c:v>09.11.21</c:v>
                </c:pt>
                <c:pt idx="145">
                  <c:v>10.11.21</c:v>
                </c:pt>
                <c:pt idx="146">
                  <c:v>11.11.21</c:v>
                </c:pt>
                <c:pt idx="147">
                  <c:v>12.11.21</c:v>
                </c:pt>
                <c:pt idx="148">
                  <c:v>13.11.21</c:v>
                </c:pt>
                <c:pt idx="149">
                  <c:v>14.11.21</c:v>
                </c:pt>
                <c:pt idx="150">
                  <c:v>15.11.21</c:v>
                </c:pt>
                <c:pt idx="151">
                  <c:v>16.11.21</c:v>
                </c:pt>
                <c:pt idx="152">
                  <c:v>17.11.21</c:v>
                </c:pt>
                <c:pt idx="153">
                  <c:v>18.11.21</c:v>
                </c:pt>
                <c:pt idx="154">
                  <c:v>19.11.21</c:v>
                </c:pt>
                <c:pt idx="155">
                  <c:v>20.11.21</c:v>
                </c:pt>
                <c:pt idx="156">
                  <c:v>21.11.21</c:v>
                </c:pt>
                <c:pt idx="157">
                  <c:v>22.11.21</c:v>
                </c:pt>
                <c:pt idx="158">
                  <c:v>23.11.21</c:v>
                </c:pt>
                <c:pt idx="159">
                  <c:v>24.11.21</c:v>
                </c:pt>
                <c:pt idx="160">
                  <c:v>25.11.21</c:v>
                </c:pt>
                <c:pt idx="161">
                  <c:v>26.11.21</c:v>
                </c:pt>
                <c:pt idx="162">
                  <c:v>27.11.21</c:v>
                </c:pt>
                <c:pt idx="163">
                  <c:v>28.11.21</c:v>
                </c:pt>
                <c:pt idx="164">
                  <c:v>29.11.21</c:v>
                </c:pt>
                <c:pt idx="165">
                  <c:v>30.11.21</c:v>
                </c:pt>
                <c:pt idx="166">
                  <c:v>01.12.21</c:v>
                </c:pt>
                <c:pt idx="167">
                  <c:v>02.12.21</c:v>
                </c:pt>
                <c:pt idx="168">
                  <c:v>03.12.21</c:v>
                </c:pt>
                <c:pt idx="169">
                  <c:v>04.12.21</c:v>
                </c:pt>
                <c:pt idx="170">
                  <c:v>05.12.21</c:v>
                </c:pt>
                <c:pt idx="171">
                  <c:v>06.12.21</c:v>
                </c:pt>
                <c:pt idx="172">
                  <c:v>07.12.21</c:v>
                </c:pt>
                <c:pt idx="173">
                  <c:v>08.12.21</c:v>
                </c:pt>
                <c:pt idx="174">
                  <c:v>09.12.21</c:v>
                </c:pt>
                <c:pt idx="175">
                  <c:v>10.12.21</c:v>
                </c:pt>
                <c:pt idx="176">
                  <c:v>11.12.21</c:v>
                </c:pt>
                <c:pt idx="177">
                  <c:v>12.12.21</c:v>
                </c:pt>
                <c:pt idx="178">
                  <c:v>13.12.21</c:v>
                </c:pt>
                <c:pt idx="179">
                  <c:v>14.12.21</c:v>
                </c:pt>
                <c:pt idx="180">
                  <c:v>15.12.21</c:v>
                </c:pt>
                <c:pt idx="181">
                  <c:v>16.12.21</c:v>
                </c:pt>
                <c:pt idx="182">
                  <c:v>17.12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3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2</c:v>
                </c:pt>
                <c:pt idx="12">
                  <c:v>0</c:v>
                </c:pt>
                <c:pt idx="13">
                  <c:v>1</c:v>
                </c:pt>
                <c:pt idx="14">
                  <c:v>2</c:v>
                </c:pt>
                <c:pt idx="15">
                  <c:v>0</c:v>
                </c:pt>
                <c:pt idx="16">
                  <c:v>1</c:v>
                </c:pt>
                <c:pt idx="17">
                  <c:v>4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0</c:v>
                </c:pt>
                <c:pt idx="29">
                  <c:v>0</c:v>
                </c:pt>
                <c:pt idx="30">
                  <c:v>1</c:v>
                </c:pt>
                <c:pt idx="31">
                  <c:v>4</c:v>
                </c:pt>
                <c:pt idx="32">
                  <c:v>0</c:v>
                </c:pt>
                <c:pt idx="33">
                  <c:v>4</c:v>
                </c:pt>
                <c:pt idx="34">
                  <c:v>0</c:v>
                </c:pt>
                <c:pt idx="35">
                  <c:v>4</c:v>
                </c:pt>
                <c:pt idx="36">
                  <c:v>1</c:v>
                </c:pt>
                <c:pt idx="37">
                  <c:v>1</c:v>
                </c:pt>
                <c:pt idx="38">
                  <c:v>3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1</c:v>
                </c:pt>
                <c:pt idx="48">
                  <c:v>0</c:v>
                </c:pt>
                <c:pt idx="49">
                  <c:v>1</c:v>
                </c:pt>
                <c:pt idx="50">
                  <c:v>0</c:v>
                </c:pt>
                <c:pt idx="51">
                  <c:v>0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1</c:v>
                </c:pt>
                <c:pt idx="56">
                  <c:v>2</c:v>
                </c:pt>
                <c:pt idx="57">
                  <c:v>3</c:v>
                </c:pt>
                <c:pt idx="58">
                  <c:v>1</c:v>
                </c:pt>
                <c:pt idx="59">
                  <c:v>3</c:v>
                </c:pt>
                <c:pt idx="60">
                  <c:v>3</c:v>
                </c:pt>
                <c:pt idx="61">
                  <c:v>2</c:v>
                </c:pt>
                <c:pt idx="62">
                  <c:v>1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4</c:v>
                </c:pt>
                <c:pt idx="67">
                  <c:v>2</c:v>
                </c:pt>
                <c:pt idx="68">
                  <c:v>0</c:v>
                </c:pt>
                <c:pt idx="69">
                  <c:v>2</c:v>
                </c:pt>
                <c:pt idx="70">
                  <c:v>1</c:v>
                </c:pt>
                <c:pt idx="71">
                  <c:v>2</c:v>
                </c:pt>
                <c:pt idx="72">
                  <c:v>1</c:v>
                </c:pt>
                <c:pt idx="73">
                  <c:v>0</c:v>
                </c:pt>
                <c:pt idx="74">
                  <c:v>2</c:v>
                </c:pt>
                <c:pt idx="75">
                  <c:v>1</c:v>
                </c:pt>
                <c:pt idx="76">
                  <c:v>5</c:v>
                </c:pt>
                <c:pt idx="77">
                  <c:v>6</c:v>
                </c:pt>
                <c:pt idx="78">
                  <c:v>1</c:v>
                </c:pt>
                <c:pt idx="79">
                  <c:v>0</c:v>
                </c:pt>
                <c:pt idx="80">
                  <c:v>2</c:v>
                </c:pt>
                <c:pt idx="81">
                  <c:v>6</c:v>
                </c:pt>
                <c:pt idx="82">
                  <c:v>1</c:v>
                </c:pt>
                <c:pt idx="83">
                  <c:v>4</c:v>
                </c:pt>
                <c:pt idx="84">
                  <c:v>0</c:v>
                </c:pt>
                <c:pt idx="85">
                  <c:v>1</c:v>
                </c:pt>
                <c:pt idx="86">
                  <c:v>2</c:v>
                </c:pt>
                <c:pt idx="87">
                  <c:v>3</c:v>
                </c:pt>
                <c:pt idx="88">
                  <c:v>4</c:v>
                </c:pt>
                <c:pt idx="89">
                  <c:v>3</c:v>
                </c:pt>
                <c:pt idx="90">
                  <c:v>7</c:v>
                </c:pt>
                <c:pt idx="91">
                  <c:v>5</c:v>
                </c:pt>
                <c:pt idx="92">
                  <c:v>2</c:v>
                </c:pt>
                <c:pt idx="93">
                  <c:v>2</c:v>
                </c:pt>
                <c:pt idx="94">
                  <c:v>10</c:v>
                </c:pt>
                <c:pt idx="95">
                  <c:v>7</c:v>
                </c:pt>
                <c:pt idx="96">
                  <c:v>6</c:v>
                </c:pt>
                <c:pt idx="97">
                  <c:v>5</c:v>
                </c:pt>
                <c:pt idx="98">
                  <c:v>7</c:v>
                </c:pt>
                <c:pt idx="99">
                  <c:v>6</c:v>
                </c:pt>
                <c:pt idx="100">
                  <c:v>6</c:v>
                </c:pt>
                <c:pt idx="101">
                  <c:v>5</c:v>
                </c:pt>
                <c:pt idx="102">
                  <c:v>7</c:v>
                </c:pt>
                <c:pt idx="103">
                  <c:v>12</c:v>
                </c:pt>
                <c:pt idx="104">
                  <c:v>15</c:v>
                </c:pt>
                <c:pt idx="105">
                  <c:v>7</c:v>
                </c:pt>
                <c:pt idx="106">
                  <c:v>5</c:v>
                </c:pt>
                <c:pt idx="107">
                  <c:v>8</c:v>
                </c:pt>
                <c:pt idx="108">
                  <c:v>10</c:v>
                </c:pt>
                <c:pt idx="109">
                  <c:v>12</c:v>
                </c:pt>
                <c:pt idx="110">
                  <c:v>9</c:v>
                </c:pt>
                <c:pt idx="111">
                  <c:v>8</c:v>
                </c:pt>
                <c:pt idx="112">
                  <c:v>9</c:v>
                </c:pt>
                <c:pt idx="113">
                  <c:v>5</c:v>
                </c:pt>
                <c:pt idx="114">
                  <c:v>4</c:v>
                </c:pt>
                <c:pt idx="115">
                  <c:v>17</c:v>
                </c:pt>
                <c:pt idx="116">
                  <c:v>17</c:v>
                </c:pt>
                <c:pt idx="117">
                  <c:v>20</c:v>
                </c:pt>
                <c:pt idx="118">
                  <c:v>19</c:v>
                </c:pt>
                <c:pt idx="119">
                  <c:v>17</c:v>
                </c:pt>
                <c:pt idx="120">
                  <c:v>10</c:v>
                </c:pt>
                <c:pt idx="121">
                  <c:v>10</c:v>
                </c:pt>
                <c:pt idx="122">
                  <c:v>32</c:v>
                </c:pt>
                <c:pt idx="123">
                  <c:v>25</c:v>
                </c:pt>
                <c:pt idx="124">
                  <c:v>24</c:v>
                </c:pt>
                <c:pt idx="125">
                  <c:v>49</c:v>
                </c:pt>
                <c:pt idx="126">
                  <c:v>38</c:v>
                </c:pt>
                <c:pt idx="127">
                  <c:v>31</c:v>
                </c:pt>
                <c:pt idx="128">
                  <c:v>11</c:v>
                </c:pt>
                <c:pt idx="129">
                  <c:v>58</c:v>
                </c:pt>
                <c:pt idx="130">
                  <c:v>63</c:v>
                </c:pt>
                <c:pt idx="131">
                  <c:v>71</c:v>
                </c:pt>
                <c:pt idx="132">
                  <c:v>31</c:v>
                </c:pt>
                <c:pt idx="133">
                  <c:v>75</c:v>
                </c:pt>
                <c:pt idx="134">
                  <c:v>56</c:v>
                </c:pt>
                <c:pt idx="135">
                  <c:v>37</c:v>
                </c:pt>
                <c:pt idx="136">
                  <c:v>103</c:v>
                </c:pt>
                <c:pt idx="137">
                  <c:v>100</c:v>
                </c:pt>
                <c:pt idx="138">
                  <c:v>107</c:v>
                </c:pt>
                <c:pt idx="139">
                  <c:v>95</c:v>
                </c:pt>
                <c:pt idx="140">
                  <c:v>107</c:v>
                </c:pt>
                <c:pt idx="141">
                  <c:v>78</c:v>
                </c:pt>
                <c:pt idx="142">
                  <c:v>25</c:v>
                </c:pt>
                <c:pt idx="143">
                  <c:v>120</c:v>
                </c:pt>
                <c:pt idx="144">
                  <c:v>133</c:v>
                </c:pt>
                <c:pt idx="145">
                  <c:v>164</c:v>
                </c:pt>
                <c:pt idx="146">
                  <c:v>90</c:v>
                </c:pt>
                <c:pt idx="147">
                  <c:v>151</c:v>
                </c:pt>
                <c:pt idx="148">
                  <c:v>86</c:v>
                </c:pt>
                <c:pt idx="149">
                  <c:v>52</c:v>
                </c:pt>
                <c:pt idx="150">
                  <c:v>148</c:v>
                </c:pt>
                <c:pt idx="151">
                  <c:v>215</c:v>
                </c:pt>
                <c:pt idx="152">
                  <c:v>105</c:v>
                </c:pt>
                <c:pt idx="153">
                  <c:v>152</c:v>
                </c:pt>
                <c:pt idx="154">
                  <c:v>213</c:v>
                </c:pt>
                <c:pt idx="155">
                  <c:v>145</c:v>
                </c:pt>
                <c:pt idx="156">
                  <c:v>79</c:v>
                </c:pt>
                <c:pt idx="157">
                  <c:v>181</c:v>
                </c:pt>
                <c:pt idx="158">
                  <c:v>239</c:v>
                </c:pt>
                <c:pt idx="159">
                  <c:v>129</c:v>
                </c:pt>
                <c:pt idx="160">
                  <c:v>197</c:v>
                </c:pt>
                <c:pt idx="161">
                  <c:v>177</c:v>
                </c:pt>
                <c:pt idx="162">
                  <c:v>99</c:v>
                </c:pt>
                <c:pt idx="163">
                  <c:v>74</c:v>
                </c:pt>
                <c:pt idx="164">
                  <c:v>187</c:v>
                </c:pt>
                <c:pt idx="165">
                  <c:v>148</c:v>
                </c:pt>
                <c:pt idx="166">
                  <c:v>154</c:v>
                </c:pt>
                <c:pt idx="167">
                  <c:v>133</c:v>
                </c:pt>
                <c:pt idx="168">
                  <c:v>126</c:v>
                </c:pt>
                <c:pt idx="169">
                  <c:v>79</c:v>
                </c:pt>
                <c:pt idx="170">
                  <c:v>59</c:v>
                </c:pt>
                <c:pt idx="171">
                  <c:v>150</c:v>
                </c:pt>
                <c:pt idx="172">
                  <c:v>142</c:v>
                </c:pt>
                <c:pt idx="173">
                  <c:v>109</c:v>
                </c:pt>
                <c:pt idx="174">
                  <c:v>118</c:v>
                </c:pt>
                <c:pt idx="175">
                  <c:v>104</c:v>
                </c:pt>
                <c:pt idx="176">
                  <c:v>70</c:v>
                </c:pt>
                <c:pt idx="177">
                  <c:v>50</c:v>
                </c:pt>
                <c:pt idx="178">
                  <c:v>95</c:v>
                </c:pt>
                <c:pt idx="179">
                  <c:v>111</c:v>
                </c:pt>
                <c:pt idx="180">
                  <c:v>72</c:v>
                </c:pt>
                <c:pt idx="181">
                  <c:v>55</c:v>
                </c:pt>
                <c:pt idx="182">
                  <c:v>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2.564396974478017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18.06.21</c:v>
                </c:pt>
                <c:pt idx="1">
                  <c:v>19.06.21</c:v>
                </c:pt>
                <c:pt idx="2">
                  <c:v>20.06.21</c:v>
                </c:pt>
                <c:pt idx="3">
                  <c:v>21.06.21</c:v>
                </c:pt>
                <c:pt idx="4">
                  <c:v>22.06.21</c:v>
                </c:pt>
                <c:pt idx="5">
                  <c:v>23.06.21</c:v>
                </c:pt>
                <c:pt idx="6">
                  <c:v>24.06.21</c:v>
                </c:pt>
                <c:pt idx="7">
                  <c:v>25.06.21</c:v>
                </c:pt>
                <c:pt idx="8">
                  <c:v>26.06.21</c:v>
                </c:pt>
                <c:pt idx="9">
                  <c:v>27.06.21</c:v>
                </c:pt>
                <c:pt idx="10">
                  <c:v>28.06.21</c:v>
                </c:pt>
                <c:pt idx="11">
                  <c:v>29.06.21</c:v>
                </c:pt>
                <c:pt idx="12">
                  <c:v>30.06.21</c:v>
                </c:pt>
                <c:pt idx="13">
                  <c:v>01.07.21</c:v>
                </c:pt>
                <c:pt idx="14">
                  <c:v>02.07.21</c:v>
                </c:pt>
                <c:pt idx="15">
                  <c:v>03.07.21</c:v>
                </c:pt>
                <c:pt idx="16">
                  <c:v>04.07.21</c:v>
                </c:pt>
                <c:pt idx="17">
                  <c:v>05.07.21</c:v>
                </c:pt>
                <c:pt idx="18">
                  <c:v>06.07.21</c:v>
                </c:pt>
                <c:pt idx="19">
                  <c:v>07.07.21</c:v>
                </c:pt>
                <c:pt idx="20">
                  <c:v>08.07.21</c:v>
                </c:pt>
                <c:pt idx="21">
                  <c:v>09.07.21</c:v>
                </c:pt>
                <c:pt idx="22">
                  <c:v>10.07.21</c:v>
                </c:pt>
                <c:pt idx="23">
                  <c:v>11.07.21</c:v>
                </c:pt>
                <c:pt idx="24">
                  <c:v>12.07.21</c:v>
                </c:pt>
                <c:pt idx="25">
                  <c:v>13.07.21</c:v>
                </c:pt>
                <c:pt idx="26">
                  <c:v>14.07.21</c:v>
                </c:pt>
                <c:pt idx="27">
                  <c:v>15.07.21</c:v>
                </c:pt>
                <c:pt idx="28">
                  <c:v>16.07.21</c:v>
                </c:pt>
                <c:pt idx="29">
                  <c:v>17.07.21</c:v>
                </c:pt>
                <c:pt idx="30">
                  <c:v>18.07.21</c:v>
                </c:pt>
                <c:pt idx="31">
                  <c:v>19.07.21</c:v>
                </c:pt>
                <c:pt idx="32">
                  <c:v>20.07.21</c:v>
                </c:pt>
                <c:pt idx="33">
                  <c:v>21.07.21</c:v>
                </c:pt>
                <c:pt idx="34">
                  <c:v>22.07.21</c:v>
                </c:pt>
                <c:pt idx="35">
                  <c:v>23.07.21</c:v>
                </c:pt>
                <c:pt idx="36">
                  <c:v>24.07.21</c:v>
                </c:pt>
                <c:pt idx="37">
                  <c:v>25.07.21</c:v>
                </c:pt>
                <c:pt idx="38">
                  <c:v>26.07.21</c:v>
                </c:pt>
                <c:pt idx="39">
                  <c:v>27.07.21</c:v>
                </c:pt>
                <c:pt idx="40">
                  <c:v>28.07.21</c:v>
                </c:pt>
                <c:pt idx="41">
                  <c:v>29.07.21</c:v>
                </c:pt>
                <c:pt idx="42">
                  <c:v>30.07.21</c:v>
                </c:pt>
                <c:pt idx="43">
                  <c:v>31.07.21</c:v>
                </c:pt>
                <c:pt idx="44">
                  <c:v>01.08.21</c:v>
                </c:pt>
                <c:pt idx="45">
                  <c:v>02.08.21</c:v>
                </c:pt>
                <c:pt idx="46">
                  <c:v>03.08.21</c:v>
                </c:pt>
                <c:pt idx="47">
                  <c:v>04.08.21</c:v>
                </c:pt>
                <c:pt idx="48">
                  <c:v>05.08.21</c:v>
                </c:pt>
                <c:pt idx="49">
                  <c:v>06.08.21</c:v>
                </c:pt>
                <c:pt idx="50">
                  <c:v>07.08.21</c:v>
                </c:pt>
                <c:pt idx="51">
                  <c:v>08.08.21</c:v>
                </c:pt>
                <c:pt idx="52">
                  <c:v>09.08.21</c:v>
                </c:pt>
                <c:pt idx="53">
                  <c:v>10.08.21</c:v>
                </c:pt>
                <c:pt idx="54">
                  <c:v>11.08.21</c:v>
                </c:pt>
                <c:pt idx="55">
                  <c:v>12.08.21</c:v>
                </c:pt>
                <c:pt idx="56">
                  <c:v>13.08.21</c:v>
                </c:pt>
                <c:pt idx="57">
                  <c:v>14.08.21</c:v>
                </c:pt>
                <c:pt idx="58">
                  <c:v>15.08.21</c:v>
                </c:pt>
                <c:pt idx="59">
                  <c:v>16.08.21</c:v>
                </c:pt>
                <c:pt idx="60">
                  <c:v>17.08.21</c:v>
                </c:pt>
                <c:pt idx="61">
                  <c:v>18.08.21</c:v>
                </c:pt>
                <c:pt idx="62">
                  <c:v>19.08.21</c:v>
                </c:pt>
                <c:pt idx="63">
                  <c:v>20.08.21</c:v>
                </c:pt>
                <c:pt idx="64">
                  <c:v>21.08.21</c:v>
                </c:pt>
                <c:pt idx="65">
                  <c:v>22.08.21</c:v>
                </c:pt>
                <c:pt idx="66">
                  <c:v>23.08.21</c:v>
                </c:pt>
                <c:pt idx="67">
                  <c:v>24.08.21</c:v>
                </c:pt>
                <c:pt idx="68">
                  <c:v>25.08.21</c:v>
                </c:pt>
                <c:pt idx="69">
                  <c:v>26.08.21</c:v>
                </c:pt>
                <c:pt idx="70">
                  <c:v>27.08.21</c:v>
                </c:pt>
                <c:pt idx="71">
                  <c:v>28.08.21</c:v>
                </c:pt>
                <c:pt idx="72">
                  <c:v>29.08.21</c:v>
                </c:pt>
                <c:pt idx="73">
                  <c:v>30.08.21</c:v>
                </c:pt>
                <c:pt idx="74">
                  <c:v>31.08.21</c:v>
                </c:pt>
                <c:pt idx="75">
                  <c:v>01.09.21</c:v>
                </c:pt>
                <c:pt idx="76">
                  <c:v>02.09.21</c:v>
                </c:pt>
                <c:pt idx="77">
                  <c:v>03.09.21</c:v>
                </c:pt>
                <c:pt idx="78">
                  <c:v>04.09.21</c:v>
                </c:pt>
                <c:pt idx="79">
                  <c:v>05.09.21</c:v>
                </c:pt>
                <c:pt idx="80">
                  <c:v>06.09.21</c:v>
                </c:pt>
                <c:pt idx="81">
                  <c:v>07.09.21</c:v>
                </c:pt>
                <c:pt idx="82">
                  <c:v>08.09.21</c:v>
                </c:pt>
                <c:pt idx="83">
                  <c:v>09.09.21</c:v>
                </c:pt>
                <c:pt idx="84">
                  <c:v>10.09.21</c:v>
                </c:pt>
                <c:pt idx="85">
                  <c:v>11.09.21</c:v>
                </c:pt>
                <c:pt idx="86">
                  <c:v>12.09.21</c:v>
                </c:pt>
                <c:pt idx="87">
                  <c:v>13.09.21</c:v>
                </c:pt>
                <c:pt idx="88">
                  <c:v>14.09.21</c:v>
                </c:pt>
                <c:pt idx="89">
                  <c:v>15.09.21</c:v>
                </c:pt>
                <c:pt idx="90">
                  <c:v>16.09.21</c:v>
                </c:pt>
                <c:pt idx="91">
                  <c:v>17.09.21</c:v>
                </c:pt>
                <c:pt idx="92">
                  <c:v>18.09.21</c:v>
                </c:pt>
                <c:pt idx="93">
                  <c:v>19.09.21</c:v>
                </c:pt>
                <c:pt idx="94">
                  <c:v>20.09.21</c:v>
                </c:pt>
                <c:pt idx="95">
                  <c:v>21.09.21</c:v>
                </c:pt>
                <c:pt idx="96">
                  <c:v>22.09.21</c:v>
                </c:pt>
                <c:pt idx="97">
                  <c:v>23.09.21</c:v>
                </c:pt>
                <c:pt idx="98">
                  <c:v>24.09.21</c:v>
                </c:pt>
                <c:pt idx="99">
                  <c:v>25.09.21</c:v>
                </c:pt>
                <c:pt idx="100">
                  <c:v>26.09.21</c:v>
                </c:pt>
                <c:pt idx="101">
                  <c:v>27.09.21</c:v>
                </c:pt>
                <c:pt idx="102">
                  <c:v>28.09.21</c:v>
                </c:pt>
                <c:pt idx="103">
                  <c:v>29.09.21</c:v>
                </c:pt>
                <c:pt idx="104">
                  <c:v>30.09.21</c:v>
                </c:pt>
                <c:pt idx="105">
                  <c:v>01.10.21</c:v>
                </c:pt>
                <c:pt idx="106">
                  <c:v>02.10.21</c:v>
                </c:pt>
                <c:pt idx="107">
                  <c:v>03.10.21</c:v>
                </c:pt>
                <c:pt idx="108">
                  <c:v>04.10.21</c:v>
                </c:pt>
                <c:pt idx="109">
                  <c:v>05.10.21</c:v>
                </c:pt>
                <c:pt idx="110">
                  <c:v>06.10.21</c:v>
                </c:pt>
                <c:pt idx="111">
                  <c:v>07.10.21</c:v>
                </c:pt>
                <c:pt idx="112">
                  <c:v>08.10.21</c:v>
                </c:pt>
                <c:pt idx="113">
                  <c:v>09.10.21</c:v>
                </c:pt>
                <c:pt idx="114">
                  <c:v>10.10.21</c:v>
                </c:pt>
                <c:pt idx="115">
                  <c:v>11.10.21</c:v>
                </c:pt>
                <c:pt idx="116">
                  <c:v>12.10.21</c:v>
                </c:pt>
                <c:pt idx="117">
                  <c:v>13.10.21</c:v>
                </c:pt>
                <c:pt idx="118">
                  <c:v>14.10.21</c:v>
                </c:pt>
                <c:pt idx="119">
                  <c:v>15.10.21</c:v>
                </c:pt>
                <c:pt idx="120">
                  <c:v>16.10.21</c:v>
                </c:pt>
                <c:pt idx="121">
                  <c:v>17.10.21</c:v>
                </c:pt>
                <c:pt idx="122">
                  <c:v>18.10.21</c:v>
                </c:pt>
                <c:pt idx="123">
                  <c:v>19.10.21</c:v>
                </c:pt>
                <c:pt idx="124">
                  <c:v>20.10.21</c:v>
                </c:pt>
                <c:pt idx="125">
                  <c:v>21.10.21</c:v>
                </c:pt>
                <c:pt idx="126">
                  <c:v>22.10.21</c:v>
                </c:pt>
                <c:pt idx="127">
                  <c:v>23.10.21</c:v>
                </c:pt>
                <c:pt idx="128">
                  <c:v>24.10.21</c:v>
                </c:pt>
                <c:pt idx="129">
                  <c:v>25.10.21</c:v>
                </c:pt>
                <c:pt idx="130">
                  <c:v>26.10.21</c:v>
                </c:pt>
                <c:pt idx="131">
                  <c:v>27.10.21</c:v>
                </c:pt>
                <c:pt idx="132">
                  <c:v>28.10.21</c:v>
                </c:pt>
                <c:pt idx="133">
                  <c:v>29.10.21</c:v>
                </c:pt>
                <c:pt idx="134">
                  <c:v>30.10.21</c:v>
                </c:pt>
                <c:pt idx="135">
                  <c:v>31.10.21</c:v>
                </c:pt>
                <c:pt idx="136">
                  <c:v>01.11.21</c:v>
                </c:pt>
                <c:pt idx="137">
                  <c:v>02.11.21</c:v>
                </c:pt>
                <c:pt idx="138">
                  <c:v>03.11.21</c:v>
                </c:pt>
                <c:pt idx="139">
                  <c:v>04.11.21</c:v>
                </c:pt>
                <c:pt idx="140">
                  <c:v>05.11.21</c:v>
                </c:pt>
                <c:pt idx="141">
                  <c:v>06.11.21</c:v>
                </c:pt>
                <c:pt idx="142">
                  <c:v>07.11.21</c:v>
                </c:pt>
                <c:pt idx="143">
                  <c:v>08.11.21</c:v>
                </c:pt>
                <c:pt idx="144">
                  <c:v>09.11.21</c:v>
                </c:pt>
                <c:pt idx="145">
                  <c:v>10.11.21</c:v>
                </c:pt>
                <c:pt idx="146">
                  <c:v>11.11.21</c:v>
                </c:pt>
                <c:pt idx="147">
                  <c:v>12.11.21</c:v>
                </c:pt>
                <c:pt idx="148">
                  <c:v>13.11.21</c:v>
                </c:pt>
                <c:pt idx="149">
                  <c:v>14.11.21</c:v>
                </c:pt>
                <c:pt idx="150">
                  <c:v>15.11.21</c:v>
                </c:pt>
                <c:pt idx="151">
                  <c:v>16.11.21</c:v>
                </c:pt>
                <c:pt idx="152">
                  <c:v>17.11.21</c:v>
                </c:pt>
                <c:pt idx="153">
                  <c:v>18.11.21</c:v>
                </c:pt>
                <c:pt idx="154">
                  <c:v>19.11.21</c:v>
                </c:pt>
                <c:pt idx="155">
                  <c:v>20.11.21</c:v>
                </c:pt>
                <c:pt idx="156">
                  <c:v>21.11.21</c:v>
                </c:pt>
                <c:pt idx="157">
                  <c:v>22.11.21</c:v>
                </c:pt>
                <c:pt idx="158">
                  <c:v>23.11.21</c:v>
                </c:pt>
                <c:pt idx="159">
                  <c:v>24.11.21</c:v>
                </c:pt>
                <c:pt idx="160">
                  <c:v>25.11.21</c:v>
                </c:pt>
                <c:pt idx="161">
                  <c:v>26.11.21</c:v>
                </c:pt>
                <c:pt idx="162">
                  <c:v>27.11.21</c:v>
                </c:pt>
                <c:pt idx="163">
                  <c:v>28.11.21</c:v>
                </c:pt>
                <c:pt idx="164">
                  <c:v>29.11.21</c:v>
                </c:pt>
                <c:pt idx="165">
                  <c:v>30.11.21</c:v>
                </c:pt>
                <c:pt idx="166">
                  <c:v>01.12.21</c:v>
                </c:pt>
                <c:pt idx="167">
                  <c:v>02.12.21</c:v>
                </c:pt>
                <c:pt idx="168">
                  <c:v>03.12.21</c:v>
                </c:pt>
                <c:pt idx="169">
                  <c:v>04.12.21</c:v>
                </c:pt>
                <c:pt idx="170">
                  <c:v>05.12.21</c:v>
                </c:pt>
                <c:pt idx="171">
                  <c:v>06.12.21</c:v>
                </c:pt>
                <c:pt idx="172">
                  <c:v>07.12.21</c:v>
                </c:pt>
                <c:pt idx="173">
                  <c:v>08.12.21</c:v>
                </c:pt>
                <c:pt idx="174">
                  <c:v>09.12.21</c:v>
                </c:pt>
                <c:pt idx="175">
                  <c:v>10.12.21</c:v>
                </c:pt>
                <c:pt idx="176">
                  <c:v>11.12.21</c:v>
                </c:pt>
                <c:pt idx="177">
                  <c:v>12.12.21</c:v>
                </c:pt>
                <c:pt idx="178">
                  <c:v>13.12.21</c:v>
                </c:pt>
                <c:pt idx="179">
                  <c:v>14.12.21</c:v>
                </c:pt>
                <c:pt idx="180">
                  <c:v>15.12.21</c:v>
                </c:pt>
                <c:pt idx="181">
                  <c:v>16.12.21</c:v>
                </c:pt>
                <c:pt idx="182">
                  <c:v>17.12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0</c:v>
                </c:pt>
                <c:pt idx="8">
                  <c:v>1</c:v>
                </c:pt>
                <c:pt idx="9">
                  <c:v>2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4</c:v>
                </c:pt>
                <c:pt idx="21">
                  <c:v>4</c:v>
                </c:pt>
                <c:pt idx="22">
                  <c:v>0</c:v>
                </c:pt>
                <c:pt idx="23">
                  <c:v>0</c:v>
                </c:pt>
                <c:pt idx="24">
                  <c:v>3</c:v>
                </c:pt>
                <c:pt idx="25">
                  <c:v>0</c:v>
                </c:pt>
                <c:pt idx="26">
                  <c:v>4</c:v>
                </c:pt>
                <c:pt idx="27">
                  <c:v>2</c:v>
                </c:pt>
                <c:pt idx="28">
                  <c:v>5</c:v>
                </c:pt>
                <c:pt idx="29">
                  <c:v>1</c:v>
                </c:pt>
                <c:pt idx="30">
                  <c:v>1</c:v>
                </c:pt>
                <c:pt idx="31">
                  <c:v>4</c:v>
                </c:pt>
                <c:pt idx="32">
                  <c:v>5</c:v>
                </c:pt>
                <c:pt idx="33">
                  <c:v>1</c:v>
                </c:pt>
                <c:pt idx="34">
                  <c:v>3</c:v>
                </c:pt>
                <c:pt idx="35">
                  <c:v>2</c:v>
                </c:pt>
                <c:pt idx="36">
                  <c:v>0</c:v>
                </c:pt>
                <c:pt idx="37">
                  <c:v>2</c:v>
                </c:pt>
                <c:pt idx="38">
                  <c:v>3</c:v>
                </c:pt>
                <c:pt idx="39">
                  <c:v>4</c:v>
                </c:pt>
                <c:pt idx="40">
                  <c:v>1</c:v>
                </c:pt>
                <c:pt idx="41">
                  <c:v>3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2</c:v>
                </c:pt>
                <c:pt idx="46">
                  <c:v>3</c:v>
                </c:pt>
                <c:pt idx="47">
                  <c:v>3</c:v>
                </c:pt>
                <c:pt idx="48">
                  <c:v>1</c:v>
                </c:pt>
                <c:pt idx="49">
                  <c:v>2</c:v>
                </c:pt>
                <c:pt idx="50">
                  <c:v>1</c:v>
                </c:pt>
                <c:pt idx="51">
                  <c:v>0</c:v>
                </c:pt>
                <c:pt idx="52">
                  <c:v>7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5</c:v>
                </c:pt>
                <c:pt idx="57">
                  <c:v>2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0</c:v>
                </c:pt>
                <c:pt idx="63">
                  <c:v>3</c:v>
                </c:pt>
                <c:pt idx="64">
                  <c:v>2</c:v>
                </c:pt>
                <c:pt idx="65">
                  <c:v>2</c:v>
                </c:pt>
                <c:pt idx="66">
                  <c:v>1</c:v>
                </c:pt>
                <c:pt idx="67">
                  <c:v>3</c:v>
                </c:pt>
                <c:pt idx="68">
                  <c:v>5</c:v>
                </c:pt>
                <c:pt idx="69">
                  <c:v>2</c:v>
                </c:pt>
                <c:pt idx="70">
                  <c:v>2</c:v>
                </c:pt>
                <c:pt idx="71">
                  <c:v>0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2</c:v>
                </c:pt>
                <c:pt idx="76">
                  <c:v>4</c:v>
                </c:pt>
                <c:pt idx="77">
                  <c:v>6</c:v>
                </c:pt>
                <c:pt idx="78">
                  <c:v>5</c:v>
                </c:pt>
                <c:pt idx="79">
                  <c:v>1</c:v>
                </c:pt>
                <c:pt idx="80">
                  <c:v>5</c:v>
                </c:pt>
                <c:pt idx="81">
                  <c:v>4</c:v>
                </c:pt>
                <c:pt idx="82">
                  <c:v>1</c:v>
                </c:pt>
                <c:pt idx="83">
                  <c:v>3</c:v>
                </c:pt>
                <c:pt idx="84">
                  <c:v>2</c:v>
                </c:pt>
                <c:pt idx="85">
                  <c:v>0</c:v>
                </c:pt>
                <c:pt idx="86">
                  <c:v>3</c:v>
                </c:pt>
                <c:pt idx="87">
                  <c:v>2</c:v>
                </c:pt>
                <c:pt idx="88">
                  <c:v>3</c:v>
                </c:pt>
                <c:pt idx="89">
                  <c:v>5</c:v>
                </c:pt>
                <c:pt idx="90">
                  <c:v>7</c:v>
                </c:pt>
                <c:pt idx="91">
                  <c:v>4</c:v>
                </c:pt>
                <c:pt idx="92">
                  <c:v>2</c:v>
                </c:pt>
                <c:pt idx="93">
                  <c:v>5</c:v>
                </c:pt>
                <c:pt idx="94">
                  <c:v>8</c:v>
                </c:pt>
                <c:pt idx="95">
                  <c:v>9</c:v>
                </c:pt>
                <c:pt idx="96">
                  <c:v>8</c:v>
                </c:pt>
                <c:pt idx="97">
                  <c:v>5</c:v>
                </c:pt>
                <c:pt idx="98">
                  <c:v>4</c:v>
                </c:pt>
                <c:pt idx="99">
                  <c:v>4</c:v>
                </c:pt>
                <c:pt idx="100">
                  <c:v>2</c:v>
                </c:pt>
                <c:pt idx="101">
                  <c:v>7</c:v>
                </c:pt>
                <c:pt idx="102">
                  <c:v>6</c:v>
                </c:pt>
                <c:pt idx="103">
                  <c:v>8</c:v>
                </c:pt>
                <c:pt idx="104">
                  <c:v>12</c:v>
                </c:pt>
                <c:pt idx="105">
                  <c:v>8</c:v>
                </c:pt>
                <c:pt idx="106">
                  <c:v>4</c:v>
                </c:pt>
                <c:pt idx="107">
                  <c:v>7</c:v>
                </c:pt>
                <c:pt idx="108">
                  <c:v>9</c:v>
                </c:pt>
                <c:pt idx="109">
                  <c:v>12</c:v>
                </c:pt>
                <c:pt idx="110">
                  <c:v>13</c:v>
                </c:pt>
                <c:pt idx="111">
                  <c:v>15</c:v>
                </c:pt>
                <c:pt idx="112">
                  <c:v>8</c:v>
                </c:pt>
                <c:pt idx="113">
                  <c:v>7</c:v>
                </c:pt>
                <c:pt idx="114">
                  <c:v>5</c:v>
                </c:pt>
                <c:pt idx="115">
                  <c:v>19</c:v>
                </c:pt>
                <c:pt idx="116">
                  <c:v>31</c:v>
                </c:pt>
                <c:pt idx="117">
                  <c:v>18</c:v>
                </c:pt>
                <c:pt idx="118">
                  <c:v>16</c:v>
                </c:pt>
                <c:pt idx="119">
                  <c:v>14</c:v>
                </c:pt>
                <c:pt idx="120">
                  <c:v>9</c:v>
                </c:pt>
                <c:pt idx="121">
                  <c:v>13</c:v>
                </c:pt>
                <c:pt idx="122">
                  <c:v>38</c:v>
                </c:pt>
                <c:pt idx="123">
                  <c:v>53</c:v>
                </c:pt>
                <c:pt idx="124">
                  <c:v>48</c:v>
                </c:pt>
                <c:pt idx="125">
                  <c:v>53</c:v>
                </c:pt>
                <c:pt idx="126">
                  <c:v>42</c:v>
                </c:pt>
                <c:pt idx="127">
                  <c:v>27</c:v>
                </c:pt>
                <c:pt idx="128">
                  <c:v>20</c:v>
                </c:pt>
                <c:pt idx="129">
                  <c:v>76</c:v>
                </c:pt>
                <c:pt idx="130">
                  <c:v>81</c:v>
                </c:pt>
                <c:pt idx="131">
                  <c:v>64</c:v>
                </c:pt>
                <c:pt idx="132">
                  <c:v>38</c:v>
                </c:pt>
                <c:pt idx="133">
                  <c:v>79</c:v>
                </c:pt>
                <c:pt idx="134">
                  <c:v>51</c:v>
                </c:pt>
                <c:pt idx="135">
                  <c:v>40</c:v>
                </c:pt>
                <c:pt idx="136">
                  <c:v>130</c:v>
                </c:pt>
                <c:pt idx="137">
                  <c:v>128</c:v>
                </c:pt>
                <c:pt idx="138">
                  <c:v>101</c:v>
                </c:pt>
                <c:pt idx="139">
                  <c:v>106</c:v>
                </c:pt>
                <c:pt idx="140">
                  <c:v>127</c:v>
                </c:pt>
                <c:pt idx="141">
                  <c:v>53</c:v>
                </c:pt>
                <c:pt idx="142">
                  <c:v>37</c:v>
                </c:pt>
                <c:pt idx="143">
                  <c:v>127</c:v>
                </c:pt>
                <c:pt idx="144">
                  <c:v>138</c:v>
                </c:pt>
                <c:pt idx="145">
                  <c:v>138</c:v>
                </c:pt>
                <c:pt idx="146">
                  <c:v>113</c:v>
                </c:pt>
                <c:pt idx="147">
                  <c:v>158</c:v>
                </c:pt>
                <c:pt idx="148">
                  <c:v>94</c:v>
                </c:pt>
                <c:pt idx="149">
                  <c:v>49</c:v>
                </c:pt>
                <c:pt idx="150">
                  <c:v>156</c:v>
                </c:pt>
                <c:pt idx="151">
                  <c:v>192</c:v>
                </c:pt>
                <c:pt idx="152">
                  <c:v>140</c:v>
                </c:pt>
                <c:pt idx="153">
                  <c:v>157</c:v>
                </c:pt>
                <c:pt idx="154">
                  <c:v>238</c:v>
                </c:pt>
                <c:pt idx="155">
                  <c:v>118</c:v>
                </c:pt>
                <c:pt idx="156">
                  <c:v>88</c:v>
                </c:pt>
                <c:pt idx="157">
                  <c:v>197</c:v>
                </c:pt>
                <c:pt idx="158">
                  <c:v>203</c:v>
                </c:pt>
                <c:pt idx="159">
                  <c:v>170</c:v>
                </c:pt>
                <c:pt idx="160">
                  <c:v>246</c:v>
                </c:pt>
                <c:pt idx="161">
                  <c:v>140</c:v>
                </c:pt>
                <c:pt idx="162">
                  <c:v>108</c:v>
                </c:pt>
                <c:pt idx="163">
                  <c:v>81</c:v>
                </c:pt>
                <c:pt idx="164">
                  <c:v>199</c:v>
                </c:pt>
                <c:pt idx="165">
                  <c:v>176</c:v>
                </c:pt>
                <c:pt idx="166">
                  <c:v>157</c:v>
                </c:pt>
                <c:pt idx="167">
                  <c:v>124</c:v>
                </c:pt>
                <c:pt idx="168">
                  <c:v>152</c:v>
                </c:pt>
                <c:pt idx="169">
                  <c:v>94</c:v>
                </c:pt>
                <c:pt idx="170">
                  <c:v>64</c:v>
                </c:pt>
                <c:pt idx="171">
                  <c:v>187</c:v>
                </c:pt>
                <c:pt idx="172">
                  <c:v>157</c:v>
                </c:pt>
                <c:pt idx="173">
                  <c:v>128</c:v>
                </c:pt>
                <c:pt idx="174">
                  <c:v>107</c:v>
                </c:pt>
                <c:pt idx="175">
                  <c:v>88</c:v>
                </c:pt>
                <c:pt idx="176">
                  <c:v>74</c:v>
                </c:pt>
                <c:pt idx="177">
                  <c:v>58</c:v>
                </c:pt>
                <c:pt idx="178">
                  <c:v>114</c:v>
                </c:pt>
                <c:pt idx="179">
                  <c:v>161</c:v>
                </c:pt>
                <c:pt idx="180">
                  <c:v>76</c:v>
                </c:pt>
                <c:pt idx="181">
                  <c:v>68</c:v>
                </c:pt>
                <c:pt idx="182">
                  <c:v>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3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18.06.21</c:v>
                </c:pt>
                <c:pt idx="1">
                  <c:v>19.06.21</c:v>
                </c:pt>
                <c:pt idx="2">
                  <c:v>20.06.21</c:v>
                </c:pt>
                <c:pt idx="3">
                  <c:v>21.06.21</c:v>
                </c:pt>
                <c:pt idx="4">
                  <c:v>22.06.21</c:v>
                </c:pt>
                <c:pt idx="5">
                  <c:v>23.06.21</c:v>
                </c:pt>
                <c:pt idx="6">
                  <c:v>24.06.21</c:v>
                </c:pt>
                <c:pt idx="7">
                  <c:v>25.06.21</c:v>
                </c:pt>
                <c:pt idx="8">
                  <c:v>26.06.21</c:v>
                </c:pt>
                <c:pt idx="9">
                  <c:v>27.06.21</c:v>
                </c:pt>
                <c:pt idx="10">
                  <c:v>28.06.21</c:v>
                </c:pt>
                <c:pt idx="11">
                  <c:v>29.06.21</c:v>
                </c:pt>
                <c:pt idx="12">
                  <c:v>30.06.21</c:v>
                </c:pt>
                <c:pt idx="13">
                  <c:v>01.07.21</c:v>
                </c:pt>
                <c:pt idx="14">
                  <c:v>02.07.21</c:v>
                </c:pt>
                <c:pt idx="15">
                  <c:v>03.07.21</c:v>
                </c:pt>
                <c:pt idx="16">
                  <c:v>04.07.21</c:v>
                </c:pt>
                <c:pt idx="17">
                  <c:v>05.07.21</c:v>
                </c:pt>
                <c:pt idx="18">
                  <c:v>06.07.21</c:v>
                </c:pt>
                <c:pt idx="19">
                  <c:v>07.07.21</c:v>
                </c:pt>
                <c:pt idx="20">
                  <c:v>08.07.21</c:v>
                </c:pt>
                <c:pt idx="21">
                  <c:v>09.07.21</c:v>
                </c:pt>
                <c:pt idx="22">
                  <c:v>10.07.21</c:v>
                </c:pt>
                <c:pt idx="23">
                  <c:v>11.07.21</c:v>
                </c:pt>
                <c:pt idx="24">
                  <c:v>12.07.21</c:v>
                </c:pt>
                <c:pt idx="25">
                  <c:v>13.07.21</c:v>
                </c:pt>
                <c:pt idx="26">
                  <c:v>14.07.21</c:v>
                </c:pt>
                <c:pt idx="27">
                  <c:v>15.07.21</c:v>
                </c:pt>
                <c:pt idx="28">
                  <c:v>16.07.21</c:v>
                </c:pt>
                <c:pt idx="29">
                  <c:v>17.07.21</c:v>
                </c:pt>
                <c:pt idx="30">
                  <c:v>18.07.21</c:v>
                </c:pt>
                <c:pt idx="31">
                  <c:v>19.07.21</c:v>
                </c:pt>
                <c:pt idx="32">
                  <c:v>20.07.21</c:v>
                </c:pt>
                <c:pt idx="33">
                  <c:v>21.07.21</c:v>
                </c:pt>
                <c:pt idx="34">
                  <c:v>22.07.21</c:v>
                </c:pt>
                <c:pt idx="35">
                  <c:v>23.07.21</c:v>
                </c:pt>
                <c:pt idx="36">
                  <c:v>24.07.21</c:v>
                </c:pt>
                <c:pt idx="37">
                  <c:v>25.07.21</c:v>
                </c:pt>
                <c:pt idx="38">
                  <c:v>26.07.21</c:v>
                </c:pt>
                <c:pt idx="39">
                  <c:v>27.07.21</c:v>
                </c:pt>
                <c:pt idx="40">
                  <c:v>28.07.21</c:v>
                </c:pt>
                <c:pt idx="41">
                  <c:v>29.07.21</c:v>
                </c:pt>
                <c:pt idx="42">
                  <c:v>30.07.21</c:v>
                </c:pt>
                <c:pt idx="43">
                  <c:v>31.07.21</c:v>
                </c:pt>
                <c:pt idx="44">
                  <c:v>01.08.21</c:v>
                </c:pt>
                <c:pt idx="45">
                  <c:v>02.08.21</c:v>
                </c:pt>
                <c:pt idx="46">
                  <c:v>03.08.21</c:v>
                </c:pt>
                <c:pt idx="47">
                  <c:v>04.08.21</c:v>
                </c:pt>
                <c:pt idx="48">
                  <c:v>05.08.21</c:v>
                </c:pt>
                <c:pt idx="49">
                  <c:v>06.08.21</c:v>
                </c:pt>
                <c:pt idx="50">
                  <c:v>07.08.21</c:v>
                </c:pt>
                <c:pt idx="51">
                  <c:v>08.08.21</c:v>
                </c:pt>
                <c:pt idx="52">
                  <c:v>09.08.21</c:v>
                </c:pt>
                <c:pt idx="53">
                  <c:v>10.08.21</c:v>
                </c:pt>
                <c:pt idx="54">
                  <c:v>11.08.21</c:v>
                </c:pt>
                <c:pt idx="55">
                  <c:v>12.08.21</c:v>
                </c:pt>
                <c:pt idx="56">
                  <c:v>13.08.21</c:v>
                </c:pt>
                <c:pt idx="57">
                  <c:v>14.08.21</c:v>
                </c:pt>
                <c:pt idx="58">
                  <c:v>15.08.21</c:v>
                </c:pt>
                <c:pt idx="59">
                  <c:v>16.08.21</c:v>
                </c:pt>
                <c:pt idx="60">
                  <c:v>17.08.21</c:v>
                </c:pt>
                <c:pt idx="61">
                  <c:v>18.08.21</c:v>
                </c:pt>
                <c:pt idx="62">
                  <c:v>19.08.21</c:v>
                </c:pt>
                <c:pt idx="63">
                  <c:v>20.08.21</c:v>
                </c:pt>
                <c:pt idx="64">
                  <c:v>21.08.21</c:v>
                </c:pt>
                <c:pt idx="65">
                  <c:v>22.08.21</c:v>
                </c:pt>
                <c:pt idx="66">
                  <c:v>23.08.21</c:v>
                </c:pt>
                <c:pt idx="67">
                  <c:v>24.08.21</c:v>
                </c:pt>
                <c:pt idx="68">
                  <c:v>25.08.21</c:v>
                </c:pt>
                <c:pt idx="69">
                  <c:v>26.08.21</c:v>
                </c:pt>
                <c:pt idx="70">
                  <c:v>27.08.21</c:v>
                </c:pt>
                <c:pt idx="71">
                  <c:v>28.08.21</c:v>
                </c:pt>
                <c:pt idx="72">
                  <c:v>29.08.21</c:v>
                </c:pt>
                <c:pt idx="73">
                  <c:v>30.08.21</c:v>
                </c:pt>
                <c:pt idx="74">
                  <c:v>31.08.21</c:v>
                </c:pt>
                <c:pt idx="75">
                  <c:v>01.09.21</c:v>
                </c:pt>
                <c:pt idx="76">
                  <c:v>02.09.21</c:v>
                </c:pt>
                <c:pt idx="77">
                  <c:v>03.09.21</c:v>
                </c:pt>
                <c:pt idx="78">
                  <c:v>04.09.21</c:v>
                </c:pt>
                <c:pt idx="79">
                  <c:v>05.09.21</c:v>
                </c:pt>
                <c:pt idx="80">
                  <c:v>06.09.21</c:v>
                </c:pt>
                <c:pt idx="81">
                  <c:v>07.09.21</c:v>
                </c:pt>
                <c:pt idx="82">
                  <c:v>08.09.21</c:v>
                </c:pt>
                <c:pt idx="83">
                  <c:v>09.09.21</c:v>
                </c:pt>
                <c:pt idx="84">
                  <c:v>10.09.21</c:v>
                </c:pt>
                <c:pt idx="85">
                  <c:v>11.09.21</c:v>
                </c:pt>
                <c:pt idx="86">
                  <c:v>12.09.21</c:v>
                </c:pt>
                <c:pt idx="87">
                  <c:v>13.09.21</c:v>
                </c:pt>
                <c:pt idx="88">
                  <c:v>14.09.21</c:v>
                </c:pt>
                <c:pt idx="89">
                  <c:v>15.09.21</c:v>
                </c:pt>
                <c:pt idx="90">
                  <c:v>16.09.21</c:v>
                </c:pt>
                <c:pt idx="91">
                  <c:v>17.09.21</c:v>
                </c:pt>
                <c:pt idx="92">
                  <c:v>18.09.21</c:v>
                </c:pt>
                <c:pt idx="93">
                  <c:v>19.09.21</c:v>
                </c:pt>
                <c:pt idx="94">
                  <c:v>20.09.21</c:v>
                </c:pt>
                <c:pt idx="95">
                  <c:v>21.09.21</c:v>
                </c:pt>
                <c:pt idx="96">
                  <c:v>22.09.21</c:v>
                </c:pt>
                <c:pt idx="97">
                  <c:v>23.09.21</c:v>
                </c:pt>
                <c:pt idx="98">
                  <c:v>24.09.21</c:v>
                </c:pt>
                <c:pt idx="99">
                  <c:v>25.09.21</c:v>
                </c:pt>
                <c:pt idx="100">
                  <c:v>26.09.21</c:v>
                </c:pt>
                <c:pt idx="101">
                  <c:v>27.09.21</c:v>
                </c:pt>
                <c:pt idx="102">
                  <c:v>28.09.21</c:v>
                </c:pt>
                <c:pt idx="103">
                  <c:v>29.09.21</c:v>
                </c:pt>
                <c:pt idx="104">
                  <c:v>30.09.21</c:v>
                </c:pt>
                <c:pt idx="105">
                  <c:v>01.10.21</c:v>
                </c:pt>
                <c:pt idx="106">
                  <c:v>02.10.21</c:v>
                </c:pt>
                <c:pt idx="107">
                  <c:v>03.10.21</c:v>
                </c:pt>
                <c:pt idx="108">
                  <c:v>04.10.21</c:v>
                </c:pt>
                <c:pt idx="109">
                  <c:v>05.10.21</c:v>
                </c:pt>
                <c:pt idx="110">
                  <c:v>06.10.21</c:v>
                </c:pt>
                <c:pt idx="111">
                  <c:v>07.10.21</c:v>
                </c:pt>
                <c:pt idx="112">
                  <c:v>08.10.21</c:v>
                </c:pt>
                <c:pt idx="113">
                  <c:v>09.10.21</c:v>
                </c:pt>
                <c:pt idx="114">
                  <c:v>10.10.21</c:v>
                </c:pt>
                <c:pt idx="115">
                  <c:v>11.10.21</c:v>
                </c:pt>
                <c:pt idx="116">
                  <c:v>12.10.21</c:v>
                </c:pt>
                <c:pt idx="117">
                  <c:v>13.10.21</c:v>
                </c:pt>
                <c:pt idx="118">
                  <c:v>14.10.21</c:v>
                </c:pt>
                <c:pt idx="119">
                  <c:v>15.10.21</c:v>
                </c:pt>
                <c:pt idx="120">
                  <c:v>16.10.21</c:v>
                </c:pt>
                <c:pt idx="121">
                  <c:v>17.10.21</c:v>
                </c:pt>
                <c:pt idx="122">
                  <c:v>18.10.21</c:v>
                </c:pt>
                <c:pt idx="123">
                  <c:v>19.10.21</c:v>
                </c:pt>
                <c:pt idx="124">
                  <c:v>20.10.21</c:v>
                </c:pt>
                <c:pt idx="125">
                  <c:v>21.10.21</c:v>
                </c:pt>
                <c:pt idx="126">
                  <c:v>22.10.21</c:v>
                </c:pt>
                <c:pt idx="127">
                  <c:v>23.10.21</c:v>
                </c:pt>
                <c:pt idx="128">
                  <c:v>24.10.21</c:v>
                </c:pt>
                <c:pt idx="129">
                  <c:v>25.10.21</c:v>
                </c:pt>
                <c:pt idx="130">
                  <c:v>26.10.21</c:v>
                </c:pt>
                <c:pt idx="131">
                  <c:v>27.10.21</c:v>
                </c:pt>
                <c:pt idx="132">
                  <c:v>28.10.21</c:v>
                </c:pt>
                <c:pt idx="133">
                  <c:v>29.10.21</c:v>
                </c:pt>
                <c:pt idx="134">
                  <c:v>30.10.21</c:v>
                </c:pt>
                <c:pt idx="135">
                  <c:v>31.10.21</c:v>
                </c:pt>
                <c:pt idx="136">
                  <c:v>01.11.21</c:v>
                </c:pt>
                <c:pt idx="137">
                  <c:v>02.11.21</c:v>
                </c:pt>
                <c:pt idx="138">
                  <c:v>03.11.21</c:v>
                </c:pt>
                <c:pt idx="139">
                  <c:v>04.11.21</c:v>
                </c:pt>
                <c:pt idx="140">
                  <c:v>05.11.21</c:v>
                </c:pt>
                <c:pt idx="141">
                  <c:v>06.11.21</c:v>
                </c:pt>
                <c:pt idx="142">
                  <c:v>07.11.21</c:v>
                </c:pt>
                <c:pt idx="143">
                  <c:v>08.11.21</c:v>
                </c:pt>
                <c:pt idx="144">
                  <c:v>09.11.21</c:v>
                </c:pt>
                <c:pt idx="145">
                  <c:v>10.11.21</c:v>
                </c:pt>
                <c:pt idx="146">
                  <c:v>11.11.21</c:v>
                </c:pt>
                <c:pt idx="147">
                  <c:v>12.11.21</c:v>
                </c:pt>
                <c:pt idx="148">
                  <c:v>13.11.21</c:v>
                </c:pt>
                <c:pt idx="149">
                  <c:v>14.11.21</c:v>
                </c:pt>
                <c:pt idx="150">
                  <c:v>15.11.21</c:v>
                </c:pt>
                <c:pt idx="151">
                  <c:v>16.11.21</c:v>
                </c:pt>
                <c:pt idx="152">
                  <c:v>17.11.21</c:v>
                </c:pt>
                <c:pt idx="153">
                  <c:v>18.11.21</c:v>
                </c:pt>
                <c:pt idx="154">
                  <c:v>19.11.21</c:v>
                </c:pt>
                <c:pt idx="155">
                  <c:v>20.11.21</c:v>
                </c:pt>
                <c:pt idx="156">
                  <c:v>21.11.21</c:v>
                </c:pt>
                <c:pt idx="157">
                  <c:v>22.11.21</c:v>
                </c:pt>
                <c:pt idx="158">
                  <c:v>23.11.21</c:v>
                </c:pt>
                <c:pt idx="159">
                  <c:v>24.11.21</c:v>
                </c:pt>
                <c:pt idx="160">
                  <c:v>25.11.21</c:v>
                </c:pt>
                <c:pt idx="161">
                  <c:v>26.11.21</c:v>
                </c:pt>
                <c:pt idx="162">
                  <c:v>27.11.21</c:v>
                </c:pt>
                <c:pt idx="163">
                  <c:v>28.11.21</c:v>
                </c:pt>
                <c:pt idx="164">
                  <c:v>29.11.21</c:v>
                </c:pt>
                <c:pt idx="165">
                  <c:v>30.11.21</c:v>
                </c:pt>
                <c:pt idx="166">
                  <c:v>01.12.21</c:v>
                </c:pt>
                <c:pt idx="167">
                  <c:v>02.12.21</c:v>
                </c:pt>
                <c:pt idx="168">
                  <c:v>03.12.21</c:v>
                </c:pt>
                <c:pt idx="169">
                  <c:v>04.12.21</c:v>
                </c:pt>
                <c:pt idx="170">
                  <c:v>05.12.21</c:v>
                </c:pt>
                <c:pt idx="171">
                  <c:v>06.12.21</c:v>
                </c:pt>
                <c:pt idx="172">
                  <c:v>07.12.21</c:v>
                </c:pt>
                <c:pt idx="173">
                  <c:v>08.12.21</c:v>
                </c:pt>
                <c:pt idx="174">
                  <c:v>09.12.21</c:v>
                </c:pt>
                <c:pt idx="175">
                  <c:v>10.12.21</c:v>
                </c:pt>
                <c:pt idx="176">
                  <c:v>11.12.21</c:v>
                </c:pt>
                <c:pt idx="177">
                  <c:v>12.12.21</c:v>
                </c:pt>
                <c:pt idx="178">
                  <c:v>13.12.21</c:v>
                </c:pt>
                <c:pt idx="179">
                  <c:v>14.12.21</c:v>
                </c:pt>
                <c:pt idx="180">
                  <c:v>15.12.21</c:v>
                </c:pt>
                <c:pt idx="181">
                  <c:v>16.12.21</c:v>
                </c:pt>
                <c:pt idx="182">
                  <c:v>17.12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11</c:v>
                </c:pt>
                <c:pt idx="25">
                  <c:v>12</c:v>
                </c:pt>
                <c:pt idx="26">
                  <c:v>11</c:v>
                </c:pt>
                <c:pt idx="27">
                  <c:v>11</c:v>
                </c:pt>
                <c:pt idx="28">
                  <c:v>14</c:v>
                </c:pt>
                <c:pt idx="29">
                  <c:v>16</c:v>
                </c:pt>
                <c:pt idx="30">
                  <c:v>16</c:v>
                </c:pt>
                <c:pt idx="31">
                  <c:v>18</c:v>
                </c:pt>
                <c:pt idx="32">
                  <c:v>20</c:v>
                </c:pt>
                <c:pt idx="33">
                  <c:v>22</c:v>
                </c:pt>
                <c:pt idx="34">
                  <c:v>25</c:v>
                </c:pt>
                <c:pt idx="35">
                  <c:v>24</c:v>
                </c:pt>
                <c:pt idx="36">
                  <c:v>24</c:v>
                </c:pt>
                <c:pt idx="37">
                  <c:v>25</c:v>
                </c:pt>
                <c:pt idx="38">
                  <c:v>25</c:v>
                </c:pt>
                <c:pt idx="39">
                  <c:v>26</c:v>
                </c:pt>
                <c:pt idx="40">
                  <c:v>27</c:v>
                </c:pt>
                <c:pt idx="41">
                  <c:v>28</c:v>
                </c:pt>
                <c:pt idx="42">
                  <c:v>26</c:v>
                </c:pt>
                <c:pt idx="43">
                  <c:v>25</c:v>
                </c:pt>
                <c:pt idx="44">
                  <c:v>24</c:v>
                </c:pt>
                <c:pt idx="45">
                  <c:v>22</c:v>
                </c:pt>
                <c:pt idx="46">
                  <c:v>20</c:v>
                </c:pt>
                <c:pt idx="47">
                  <c:v>23</c:v>
                </c:pt>
                <c:pt idx="48">
                  <c:v>21</c:v>
                </c:pt>
                <c:pt idx="49">
                  <c:v>23</c:v>
                </c:pt>
                <c:pt idx="50">
                  <c:v>20</c:v>
                </c:pt>
                <c:pt idx="51">
                  <c:v>22</c:v>
                </c:pt>
                <c:pt idx="52">
                  <c:v>22</c:v>
                </c:pt>
                <c:pt idx="53">
                  <c:v>22</c:v>
                </c:pt>
                <c:pt idx="54">
                  <c:v>22</c:v>
                </c:pt>
                <c:pt idx="55">
                  <c:v>23</c:v>
                </c:pt>
                <c:pt idx="56">
                  <c:v>23</c:v>
                </c:pt>
                <c:pt idx="57">
                  <c:v>23</c:v>
                </c:pt>
                <c:pt idx="58">
                  <c:v>23</c:v>
                </c:pt>
                <c:pt idx="59">
                  <c:v>26</c:v>
                </c:pt>
                <c:pt idx="60">
                  <c:v>23</c:v>
                </c:pt>
                <c:pt idx="61">
                  <c:v>20</c:v>
                </c:pt>
                <c:pt idx="62">
                  <c:v>20</c:v>
                </c:pt>
                <c:pt idx="63">
                  <c:v>19</c:v>
                </c:pt>
                <c:pt idx="64">
                  <c:v>18</c:v>
                </c:pt>
                <c:pt idx="65">
                  <c:v>16</c:v>
                </c:pt>
                <c:pt idx="66">
                  <c:v>17</c:v>
                </c:pt>
                <c:pt idx="67">
                  <c:v>16</c:v>
                </c:pt>
                <c:pt idx="68">
                  <c:v>14</c:v>
                </c:pt>
                <c:pt idx="69">
                  <c:v>15</c:v>
                </c:pt>
                <c:pt idx="70">
                  <c:v>15</c:v>
                </c:pt>
                <c:pt idx="71">
                  <c:v>16</c:v>
                </c:pt>
                <c:pt idx="72">
                  <c:v>15</c:v>
                </c:pt>
                <c:pt idx="73">
                  <c:v>13</c:v>
                </c:pt>
                <c:pt idx="74">
                  <c:v>17</c:v>
                </c:pt>
                <c:pt idx="75">
                  <c:v>20</c:v>
                </c:pt>
                <c:pt idx="76">
                  <c:v>21</c:v>
                </c:pt>
                <c:pt idx="77">
                  <c:v>21</c:v>
                </c:pt>
                <c:pt idx="78">
                  <c:v>24</c:v>
                </c:pt>
                <c:pt idx="79">
                  <c:v>25</c:v>
                </c:pt>
                <c:pt idx="80">
                  <c:v>23</c:v>
                </c:pt>
                <c:pt idx="81">
                  <c:v>24</c:v>
                </c:pt>
                <c:pt idx="82">
                  <c:v>23</c:v>
                </c:pt>
                <c:pt idx="83">
                  <c:v>23</c:v>
                </c:pt>
                <c:pt idx="84">
                  <c:v>24</c:v>
                </c:pt>
                <c:pt idx="85">
                  <c:v>27</c:v>
                </c:pt>
                <c:pt idx="86">
                  <c:v>26</c:v>
                </c:pt>
                <c:pt idx="87">
                  <c:v>28</c:v>
                </c:pt>
                <c:pt idx="88">
                  <c:v>27</c:v>
                </c:pt>
                <c:pt idx="89">
                  <c:v>24</c:v>
                </c:pt>
                <c:pt idx="90">
                  <c:v>25</c:v>
                </c:pt>
                <c:pt idx="91">
                  <c:v>25</c:v>
                </c:pt>
                <c:pt idx="92">
                  <c:v>24</c:v>
                </c:pt>
                <c:pt idx="93">
                  <c:v>24</c:v>
                </c:pt>
                <c:pt idx="94">
                  <c:v>22</c:v>
                </c:pt>
                <c:pt idx="95">
                  <c:v>25</c:v>
                </c:pt>
                <c:pt idx="96">
                  <c:v>28</c:v>
                </c:pt>
                <c:pt idx="97">
                  <c:v>28</c:v>
                </c:pt>
                <c:pt idx="98">
                  <c:v>29</c:v>
                </c:pt>
                <c:pt idx="99">
                  <c:v>27</c:v>
                </c:pt>
                <c:pt idx="100">
                  <c:v>27</c:v>
                </c:pt>
                <c:pt idx="101">
                  <c:v>29</c:v>
                </c:pt>
                <c:pt idx="102">
                  <c:v>33</c:v>
                </c:pt>
                <c:pt idx="103">
                  <c:v>36</c:v>
                </c:pt>
                <c:pt idx="104">
                  <c:v>44</c:v>
                </c:pt>
                <c:pt idx="105">
                  <c:v>45</c:v>
                </c:pt>
                <c:pt idx="106">
                  <c:v>49</c:v>
                </c:pt>
                <c:pt idx="107">
                  <c:v>49</c:v>
                </c:pt>
                <c:pt idx="108">
                  <c:v>48</c:v>
                </c:pt>
                <c:pt idx="109">
                  <c:v>47</c:v>
                </c:pt>
                <c:pt idx="110">
                  <c:v>48</c:v>
                </c:pt>
                <c:pt idx="111">
                  <c:v>53</c:v>
                </c:pt>
                <c:pt idx="112">
                  <c:v>56</c:v>
                </c:pt>
                <c:pt idx="113">
                  <c:v>57</c:v>
                </c:pt>
                <c:pt idx="114">
                  <c:v>56</c:v>
                </c:pt>
                <c:pt idx="115">
                  <c:v>50</c:v>
                </c:pt>
                <c:pt idx="116">
                  <c:v>59</c:v>
                </c:pt>
                <c:pt idx="117">
                  <c:v>56</c:v>
                </c:pt>
                <c:pt idx="118">
                  <c:v>59</c:v>
                </c:pt>
                <c:pt idx="119">
                  <c:v>62</c:v>
                </c:pt>
                <c:pt idx="120">
                  <c:v>65</c:v>
                </c:pt>
                <c:pt idx="121">
                  <c:v>71</c:v>
                </c:pt>
                <c:pt idx="122">
                  <c:v>88</c:v>
                </c:pt>
                <c:pt idx="123">
                  <c:v>101</c:v>
                </c:pt>
                <c:pt idx="124">
                  <c:v>109</c:v>
                </c:pt>
                <c:pt idx="125">
                  <c:v>116</c:v>
                </c:pt>
                <c:pt idx="126">
                  <c:v>127</c:v>
                </c:pt>
                <c:pt idx="127">
                  <c:v>140</c:v>
                </c:pt>
                <c:pt idx="128">
                  <c:v>150</c:v>
                </c:pt>
                <c:pt idx="129">
                  <c:v>176</c:v>
                </c:pt>
                <c:pt idx="130">
                  <c:v>183</c:v>
                </c:pt>
                <c:pt idx="131">
                  <c:v>202</c:v>
                </c:pt>
                <c:pt idx="132">
                  <c:v>216</c:v>
                </c:pt>
                <c:pt idx="133">
                  <c:v>246</c:v>
                </c:pt>
                <c:pt idx="134">
                  <c:v>262</c:v>
                </c:pt>
                <c:pt idx="135">
                  <c:v>268</c:v>
                </c:pt>
                <c:pt idx="136">
                  <c:v>307</c:v>
                </c:pt>
                <c:pt idx="137">
                  <c:v>329</c:v>
                </c:pt>
                <c:pt idx="138">
                  <c:v>352</c:v>
                </c:pt>
                <c:pt idx="139">
                  <c:v>366</c:v>
                </c:pt>
                <c:pt idx="140">
                  <c:v>384</c:v>
                </c:pt>
                <c:pt idx="141">
                  <c:v>392</c:v>
                </c:pt>
                <c:pt idx="142">
                  <c:v>400</c:v>
                </c:pt>
                <c:pt idx="143">
                  <c:v>420</c:v>
                </c:pt>
                <c:pt idx="144">
                  <c:v>450</c:v>
                </c:pt>
                <c:pt idx="145">
                  <c:v>467</c:v>
                </c:pt>
                <c:pt idx="146">
                  <c:v>500</c:v>
                </c:pt>
                <c:pt idx="147">
                  <c:v>499</c:v>
                </c:pt>
                <c:pt idx="148">
                  <c:v>534</c:v>
                </c:pt>
                <c:pt idx="149">
                  <c:v>539</c:v>
                </c:pt>
                <c:pt idx="150">
                  <c:v>537</c:v>
                </c:pt>
                <c:pt idx="151">
                  <c:v>563</c:v>
                </c:pt>
                <c:pt idx="152">
                  <c:v>569</c:v>
                </c:pt>
                <c:pt idx="153">
                  <c:v>592</c:v>
                </c:pt>
                <c:pt idx="154">
                  <c:v>634</c:v>
                </c:pt>
                <c:pt idx="155">
                  <c:v>661</c:v>
                </c:pt>
                <c:pt idx="156">
                  <c:v>665</c:v>
                </c:pt>
                <c:pt idx="157">
                  <c:v>661</c:v>
                </c:pt>
                <c:pt idx="158">
                  <c:v>699</c:v>
                </c:pt>
                <c:pt idx="159">
                  <c:v>687</c:v>
                </c:pt>
                <c:pt idx="160">
                  <c:v>701</c:v>
                </c:pt>
                <c:pt idx="161">
                  <c:v>693</c:v>
                </c:pt>
                <c:pt idx="162">
                  <c:v>697</c:v>
                </c:pt>
                <c:pt idx="163">
                  <c:v>711</c:v>
                </c:pt>
                <c:pt idx="164">
                  <c:v>700</c:v>
                </c:pt>
                <c:pt idx="165">
                  <c:v>693</c:v>
                </c:pt>
                <c:pt idx="166">
                  <c:v>706</c:v>
                </c:pt>
                <c:pt idx="167">
                  <c:v>679</c:v>
                </c:pt>
                <c:pt idx="168">
                  <c:v>652</c:v>
                </c:pt>
                <c:pt idx="169">
                  <c:v>647</c:v>
                </c:pt>
                <c:pt idx="170">
                  <c:v>629</c:v>
                </c:pt>
                <c:pt idx="171">
                  <c:v>588</c:v>
                </c:pt>
                <c:pt idx="172">
                  <c:v>567</c:v>
                </c:pt>
                <c:pt idx="173">
                  <c:v>554</c:v>
                </c:pt>
                <c:pt idx="174">
                  <c:v>527</c:v>
                </c:pt>
                <c:pt idx="175">
                  <c:v>507</c:v>
                </c:pt>
                <c:pt idx="176">
                  <c:v>497</c:v>
                </c:pt>
                <c:pt idx="177">
                  <c:v>476</c:v>
                </c:pt>
                <c:pt idx="178">
                  <c:v>445</c:v>
                </c:pt>
                <c:pt idx="179">
                  <c:v>468</c:v>
                </c:pt>
                <c:pt idx="180">
                  <c:v>488</c:v>
                </c:pt>
                <c:pt idx="181">
                  <c:v>503</c:v>
                </c:pt>
                <c:pt idx="182">
                  <c:v>5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1.7754105636927238E-3"/>
                  <c:y val="9.1782611050075675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18.06.21</c:v>
                </c:pt>
                <c:pt idx="1">
                  <c:v>19.06.21</c:v>
                </c:pt>
                <c:pt idx="2">
                  <c:v>20.06.21</c:v>
                </c:pt>
                <c:pt idx="3">
                  <c:v>21.06.21</c:v>
                </c:pt>
                <c:pt idx="4">
                  <c:v>22.06.21</c:v>
                </c:pt>
                <c:pt idx="5">
                  <c:v>23.06.21</c:v>
                </c:pt>
                <c:pt idx="6">
                  <c:v>24.06.21</c:v>
                </c:pt>
                <c:pt idx="7">
                  <c:v>25.06.21</c:v>
                </c:pt>
                <c:pt idx="8">
                  <c:v>26.06.21</c:v>
                </c:pt>
                <c:pt idx="9">
                  <c:v>27.06.21</c:v>
                </c:pt>
                <c:pt idx="10">
                  <c:v>28.06.21</c:v>
                </c:pt>
                <c:pt idx="11">
                  <c:v>29.06.21</c:v>
                </c:pt>
                <c:pt idx="12">
                  <c:v>30.06.21</c:v>
                </c:pt>
                <c:pt idx="13">
                  <c:v>01.07.21</c:v>
                </c:pt>
                <c:pt idx="14">
                  <c:v>02.07.21</c:v>
                </c:pt>
                <c:pt idx="15">
                  <c:v>03.07.21</c:v>
                </c:pt>
                <c:pt idx="16">
                  <c:v>04.07.21</c:v>
                </c:pt>
                <c:pt idx="17">
                  <c:v>05.07.21</c:v>
                </c:pt>
                <c:pt idx="18">
                  <c:v>06.07.21</c:v>
                </c:pt>
                <c:pt idx="19">
                  <c:v>07.07.21</c:v>
                </c:pt>
                <c:pt idx="20">
                  <c:v>08.07.21</c:v>
                </c:pt>
                <c:pt idx="21">
                  <c:v>09.07.21</c:v>
                </c:pt>
                <c:pt idx="22">
                  <c:v>10.07.21</c:v>
                </c:pt>
                <c:pt idx="23">
                  <c:v>11.07.21</c:v>
                </c:pt>
                <c:pt idx="24">
                  <c:v>12.07.21</c:v>
                </c:pt>
                <c:pt idx="25">
                  <c:v>13.07.21</c:v>
                </c:pt>
                <c:pt idx="26">
                  <c:v>14.07.21</c:v>
                </c:pt>
                <c:pt idx="27">
                  <c:v>15.07.21</c:v>
                </c:pt>
                <c:pt idx="28">
                  <c:v>16.07.21</c:v>
                </c:pt>
                <c:pt idx="29">
                  <c:v>17.07.21</c:v>
                </c:pt>
                <c:pt idx="30">
                  <c:v>18.07.21</c:v>
                </c:pt>
                <c:pt idx="31">
                  <c:v>19.07.21</c:v>
                </c:pt>
                <c:pt idx="32">
                  <c:v>20.07.21</c:v>
                </c:pt>
                <c:pt idx="33">
                  <c:v>21.07.21</c:v>
                </c:pt>
                <c:pt idx="34">
                  <c:v>22.07.21</c:v>
                </c:pt>
                <c:pt idx="35">
                  <c:v>23.07.21</c:v>
                </c:pt>
                <c:pt idx="36">
                  <c:v>24.07.21</c:v>
                </c:pt>
                <c:pt idx="37">
                  <c:v>25.07.21</c:v>
                </c:pt>
                <c:pt idx="38">
                  <c:v>26.07.21</c:v>
                </c:pt>
                <c:pt idx="39">
                  <c:v>27.07.21</c:v>
                </c:pt>
                <c:pt idx="40">
                  <c:v>28.07.21</c:v>
                </c:pt>
                <c:pt idx="41">
                  <c:v>29.07.21</c:v>
                </c:pt>
                <c:pt idx="42">
                  <c:v>30.07.21</c:v>
                </c:pt>
                <c:pt idx="43">
                  <c:v>31.07.21</c:v>
                </c:pt>
                <c:pt idx="44">
                  <c:v>01.08.21</c:v>
                </c:pt>
                <c:pt idx="45">
                  <c:v>02.08.21</c:v>
                </c:pt>
                <c:pt idx="46">
                  <c:v>03.08.21</c:v>
                </c:pt>
                <c:pt idx="47">
                  <c:v>04.08.21</c:v>
                </c:pt>
                <c:pt idx="48">
                  <c:v>05.08.21</c:v>
                </c:pt>
                <c:pt idx="49">
                  <c:v>06.08.21</c:v>
                </c:pt>
                <c:pt idx="50">
                  <c:v>07.08.21</c:v>
                </c:pt>
                <c:pt idx="51">
                  <c:v>08.08.21</c:v>
                </c:pt>
                <c:pt idx="52">
                  <c:v>09.08.21</c:v>
                </c:pt>
                <c:pt idx="53">
                  <c:v>10.08.21</c:v>
                </c:pt>
                <c:pt idx="54">
                  <c:v>11.08.21</c:v>
                </c:pt>
                <c:pt idx="55">
                  <c:v>12.08.21</c:v>
                </c:pt>
                <c:pt idx="56">
                  <c:v>13.08.21</c:v>
                </c:pt>
                <c:pt idx="57">
                  <c:v>14.08.21</c:v>
                </c:pt>
                <c:pt idx="58">
                  <c:v>15.08.21</c:v>
                </c:pt>
                <c:pt idx="59">
                  <c:v>16.08.21</c:v>
                </c:pt>
                <c:pt idx="60">
                  <c:v>17.08.21</c:v>
                </c:pt>
                <c:pt idx="61">
                  <c:v>18.08.21</c:v>
                </c:pt>
                <c:pt idx="62">
                  <c:v>19.08.21</c:v>
                </c:pt>
                <c:pt idx="63">
                  <c:v>20.08.21</c:v>
                </c:pt>
                <c:pt idx="64">
                  <c:v>21.08.21</c:v>
                </c:pt>
                <c:pt idx="65">
                  <c:v>22.08.21</c:v>
                </c:pt>
                <c:pt idx="66">
                  <c:v>23.08.21</c:v>
                </c:pt>
                <c:pt idx="67">
                  <c:v>24.08.21</c:v>
                </c:pt>
                <c:pt idx="68">
                  <c:v>25.08.21</c:v>
                </c:pt>
                <c:pt idx="69">
                  <c:v>26.08.21</c:v>
                </c:pt>
                <c:pt idx="70">
                  <c:v>27.08.21</c:v>
                </c:pt>
                <c:pt idx="71">
                  <c:v>28.08.21</c:v>
                </c:pt>
                <c:pt idx="72">
                  <c:v>29.08.21</c:v>
                </c:pt>
                <c:pt idx="73">
                  <c:v>30.08.21</c:v>
                </c:pt>
                <c:pt idx="74">
                  <c:v>31.08.21</c:v>
                </c:pt>
                <c:pt idx="75">
                  <c:v>01.09.21</c:v>
                </c:pt>
                <c:pt idx="76">
                  <c:v>02.09.21</c:v>
                </c:pt>
                <c:pt idx="77">
                  <c:v>03.09.21</c:v>
                </c:pt>
                <c:pt idx="78">
                  <c:v>04.09.21</c:v>
                </c:pt>
                <c:pt idx="79">
                  <c:v>05.09.21</c:v>
                </c:pt>
                <c:pt idx="80">
                  <c:v>06.09.21</c:v>
                </c:pt>
                <c:pt idx="81">
                  <c:v>07.09.21</c:v>
                </c:pt>
                <c:pt idx="82">
                  <c:v>08.09.21</c:v>
                </c:pt>
                <c:pt idx="83">
                  <c:v>09.09.21</c:v>
                </c:pt>
                <c:pt idx="84">
                  <c:v>10.09.21</c:v>
                </c:pt>
                <c:pt idx="85">
                  <c:v>11.09.21</c:v>
                </c:pt>
                <c:pt idx="86">
                  <c:v>12.09.21</c:v>
                </c:pt>
                <c:pt idx="87">
                  <c:v>13.09.21</c:v>
                </c:pt>
                <c:pt idx="88">
                  <c:v>14.09.21</c:v>
                </c:pt>
                <c:pt idx="89">
                  <c:v>15.09.21</c:v>
                </c:pt>
                <c:pt idx="90">
                  <c:v>16.09.21</c:v>
                </c:pt>
                <c:pt idx="91">
                  <c:v>17.09.21</c:v>
                </c:pt>
                <c:pt idx="92">
                  <c:v>18.09.21</c:v>
                </c:pt>
                <c:pt idx="93">
                  <c:v>19.09.21</c:v>
                </c:pt>
                <c:pt idx="94">
                  <c:v>20.09.21</c:v>
                </c:pt>
                <c:pt idx="95">
                  <c:v>21.09.21</c:v>
                </c:pt>
                <c:pt idx="96">
                  <c:v>22.09.21</c:v>
                </c:pt>
                <c:pt idx="97">
                  <c:v>23.09.21</c:v>
                </c:pt>
                <c:pt idx="98">
                  <c:v>24.09.21</c:v>
                </c:pt>
                <c:pt idx="99">
                  <c:v>25.09.21</c:v>
                </c:pt>
                <c:pt idx="100">
                  <c:v>26.09.21</c:v>
                </c:pt>
                <c:pt idx="101">
                  <c:v>27.09.21</c:v>
                </c:pt>
                <c:pt idx="102">
                  <c:v>28.09.21</c:v>
                </c:pt>
                <c:pt idx="103">
                  <c:v>29.09.21</c:v>
                </c:pt>
                <c:pt idx="104">
                  <c:v>30.09.21</c:v>
                </c:pt>
                <c:pt idx="105">
                  <c:v>01.10.21</c:v>
                </c:pt>
                <c:pt idx="106">
                  <c:v>02.10.21</c:v>
                </c:pt>
                <c:pt idx="107">
                  <c:v>03.10.21</c:v>
                </c:pt>
                <c:pt idx="108">
                  <c:v>04.10.21</c:v>
                </c:pt>
                <c:pt idx="109">
                  <c:v>05.10.21</c:v>
                </c:pt>
                <c:pt idx="110">
                  <c:v>06.10.21</c:v>
                </c:pt>
                <c:pt idx="111">
                  <c:v>07.10.21</c:v>
                </c:pt>
                <c:pt idx="112">
                  <c:v>08.10.21</c:v>
                </c:pt>
                <c:pt idx="113">
                  <c:v>09.10.21</c:v>
                </c:pt>
                <c:pt idx="114">
                  <c:v>10.10.21</c:v>
                </c:pt>
                <c:pt idx="115">
                  <c:v>11.10.21</c:v>
                </c:pt>
                <c:pt idx="116">
                  <c:v>12.10.21</c:v>
                </c:pt>
                <c:pt idx="117">
                  <c:v>13.10.21</c:v>
                </c:pt>
                <c:pt idx="118">
                  <c:v>14.10.21</c:v>
                </c:pt>
                <c:pt idx="119">
                  <c:v>15.10.21</c:v>
                </c:pt>
                <c:pt idx="120">
                  <c:v>16.10.21</c:v>
                </c:pt>
                <c:pt idx="121">
                  <c:v>17.10.21</c:v>
                </c:pt>
                <c:pt idx="122">
                  <c:v>18.10.21</c:v>
                </c:pt>
                <c:pt idx="123">
                  <c:v>19.10.21</c:v>
                </c:pt>
                <c:pt idx="124">
                  <c:v>20.10.21</c:v>
                </c:pt>
                <c:pt idx="125">
                  <c:v>21.10.21</c:v>
                </c:pt>
                <c:pt idx="126">
                  <c:v>22.10.21</c:v>
                </c:pt>
                <c:pt idx="127">
                  <c:v>23.10.21</c:v>
                </c:pt>
                <c:pt idx="128">
                  <c:v>24.10.21</c:v>
                </c:pt>
                <c:pt idx="129">
                  <c:v>25.10.21</c:v>
                </c:pt>
                <c:pt idx="130">
                  <c:v>26.10.21</c:v>
                </c:pt>
                <c:pt idx="131">
                  <c:v>27.10.21</c:v>
                </c:pt>
                <c:pt idx="132">
                  <c:v>28.10.21</c:v>
                </c:pt>
                <c:pt idx="133">
                  <c:v>29.10.21</c:v>
                </c:pt>
                <c:pt idx="134">
                  <c:v>30.10.21</c:v>
                </c:pt>
                <c:pt idx="135">
                  <c:v>31.10.21</c:v>
                </c:pt>
                <c:pt idx="136">
                  <c:v>01.11.21</c:v>
                </c:pt>
                <c:pt idx="137">
                  <c:v>02.11.21</c:v>
                </c:pt>
                <c:pt idx="138">
                  <c:v>03.11.21</c:v>
                </c:pt>
                <c:pt idx="139">
                  <c:v>04.11.21</c:v>
                </c:pt>
                <c:pt idx="140">
                  <c:v>05.11.21</c:v>
                </c:pt>
                <c:pt idx="141">
                  <c:v>06.11.21</c:v>
                </c:pt>
                <c:pt idx="142">
                  <c:v>07.11.21</c:v>
                </c:pt>
                <c:pt idx="143">
                  <c:v>08.11.21</c:v>
                </c:pt>
                <c:pt idx="144">
                  <c:v>09.11.21</c:v>
                </c:pt>
                <c:pt idx="145">
                  <c:v>10.11.21</c:v>
                </c:pt>
                <c:pt idx="146">
                  <c:v>11.11.21</c:v>
                </c:pt>
                <c:pt idx="147">
                  <c:v>12.11.21</c:v>
                </c:pt>
                <c:pt idx="148">
                  <c:v>13.11.21</c:v>
                </c:pt>
                <c:pt idx="149">
                  <c:v>14.11.21</c:v>
                </c:pt>
                <c:pt idx="150">
                  <c:v>15.11.21</c:v>
                </c:pt>
                <c:pt idx="151">
                  <c:v>16.11.21</c:v>
                </c:pt>
                <c:pt idx="152">
                  <c:v>17.11.21</c:v>
                </c:pt>
                <c:pt idx="153">
                  <c:v>18.11.21</c:v>
                </c:pt>
                <c:pt idx="154">
                  <c:v>19.11.21</c:v>
                </c:pt>
                <c:pt idx="155">
                  <c:v>20.11.21</c:v>
                </c:pt>
                <c:pt idx="156">
                  <c:v>21.11.21</c:v>
                </c:pt>
                <c:pt idx="157">
                  <c:v>22.11.21</c:v>
                </c:pt>
                <c:pt idx="158">
                  <c:v>23.11.21</c:v>
                </c:pt>
                <c:pt idx="159">
                  <c:v>24.11.21</c:v>
                </c:pt>
                <c:pt idx="160">
                  <c:v>25.11.21</c:v>
                </c:pt>
                <c:pt idx="161">
                  <c:v>26.11.21</c:v>
                </c:pt>
                <c:pt idx="162">
                  <c:v>27.11.21</c:v>
                </c:pt>
                <c:pt idx="163">
                  <c:v>28.11.21</c:v>
                </c:pt>
                <c:pt idx="164">
                  <c:v>29.11.21</c:v>
                </c:pt>
                <c:pt idx="165">
                  <c:v>30.11.21</c:v>
                </c:pt>
                <c:pt idx="166">
                  <c:v>01.12.21</c:v>
                </c:pt>
                <c:pt idx="167">
                  <c:v>02.12.21</c:v>
                </c:pt>
                <c:pt idx="168">
                  <c:v>03.12.21</c:v>
                </c:pt>
                <c:pt idx="169">
                  <c:v>04.12.21</c:v>
                </c:pt>
                <c:pt idx="170">
                  <c:v>05.12.21</c:v>
                </c:pt>
                <c:pt idx="171">
                  <c:v>06.12.21</c:v>
                </c:pt>
                <c:pt idx="172">
                  <c:v>07.12.21</c:v>
                </c:pt>
                <c:pt idx="173">
                  <c:v>08.12.21</c:v>
                </c:pt>
                <c:pt idx="174">
                  <c:v>09.12.21</c:v>
                </c:pt>
                <c:pt idx="175">
                  <c:v>10.12.21</c:v>
                </c:pt>
                <c:pt idx="176">
                  <c:v>11.12.21</c:v>
                </c:pt>
                <c:pt idx="177">
                  <c:v>12.12.21</c:v>
                </c:pt>
                <c:pt idx="178">
                  <c:v>13.12.21</c:v>
                </c:pt>
                <c:pt idx="179">
                  <c:v>14.12.21</c:v>
                </c:pt>
                <c:pt idx="180">
                  <c:v>15.12.21</c:v>
                </c:pt>
                <c:pt idx="181">
                  <c:v>16.12.21</c:v>
                </c:pt>
                <c:pt idx="182">
                  <c:v>17.12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32</c:v>
                </c:pt>
                <c:pt idx="1">
                  <c:v>33</c:v>
                </c:pt>
                <c:pt idx="2">
                  <c:v>33</c:v>
                </c:pt>
                <c:pt idx="3">
                  <c:v>32</c:v>
                </c:pt>
                <c:pt idx="4">
                  <c:v>30</c:v>
                </c:pt>
                <c:pt idx="5">
                  <c:v>31</c:v>
                </c:pt>
                <c:pt idx="6">
                  <c:v>31</c:v>
                </c:pt>
                <c:pt idx="7">
                  <c:v>30</c:v>
                </c:pt>
                <c:pt idx="8">
                  <c:v>30</c:v>
                </c:pt>
                <c:pt idx="9">
                  <c:v>28</c:v>
                </c:pt>
                <c:pt idx="10">
                  <c:v>29</c:v>
                </c:pt>
                <c:pt idx="11">
                  <c:v>31</c:v>
                </c:pt>
                <c:pt idx="12">
                  <c:v>30</c:v>
                </c:pt>
                <c:pt idx="13">
                  <c:v>29</c:v>
                </c:pt>
                <c:pt idx="14">
                  <c:v>29</c:v>
                </c:pt>
                <c:pt idx="15">
                  <c:v>29</c:v>
                </c:pt>
                <c:pt idx="16">
                  <c:v>30</c:v>
                </c:pt>
                <c:pt idx="17">
                  <c:v>34</c:v>
                </c:pt>
                <c:pt idx="18">
                  <c:v>34</c:v>
                </c:pt>
                <c:pt idx="19">
                  <c:v>34</c:v>
                </c:pt>
                <c:pt idx="20">
                  <c:v>33</c:v>
                </c:pt>
                <c:pt idx="21">
                  <c:v>33</c:v>
                </c:pt>
                <c:pt idx="22">
                  <c:v>33</c:v>
                </c:pt>
                <c:pt idx="23">
                  <c:v>32</c:v>
                </c:pt>
                <c:pt idx="24">
                  <c:v>32</c:v>
                </c:pt>
                <c:pt idx="25">
                  <c:v>34</c:v>
                </c:pt>
                <c:pt idx="26">
                  <c:v>36</c:v>
                </c:pt>
                <c:pt idx="27">
                  <c:v>37</c:v>
                </c:pt>
                <c:pt idx="28">
                  <c:v>35</c:v>
                </c:pt>
                <c:pt idx="29">
                  <c:v>34</c:v>
                </c:pt>
                <c:pt idx="30">
                  <c:v>34</c:v>
                </c:pt>
                <c:pt idx="31">
                  <c:v>36</c:v>
                </c:pt>
                <c:pt idx="32">
                  <c:v>36</c:v>
                </c:pt>
                <c:pt idx="33">
                  <c:v>39</c:v>
                </c:pt>
                <c:pt idx="34">
                  <c:v>39</c:v>
                </c:pt>
                <c:pt idx="35">
                  <c:v>42</c:v>
                </c:pt>
                <c:pt idx="36">
                  <c:v>43</c:v>
                </c:pt>
                <c:pt idx="37">
                  <c:v>44</c:v>
                </c:pt>
                <c:pt idx="38">
                  <c:v>43</c:v>
                </c:pt>
                <c:pt idx="39">
                  <c:v>41</c:v>
                </c:pt>
                <c:pt idx="40">
                  <c:v>40</c:v>
                </c:pt>
                <c:pt idx="41">
                  <c:v>39</c:v>
                </c:pt>
                <c:pt idx="42">
                  <c:v>40</c:v>
                </c:pt>
                <c:pt idx="43">
                  <c:v>40</c:v>
                </c:pt>
                <c:pt idx="44">
                  <c:v>40</c:v>
                </c:pt>
                <c:pt idx="45">
                  <c:v>36</c:v>
                </c:pt>
                <c:pt idx="46">
                  <c:v>38</c:v>
                </c:pt>
                <c:pt idx="47">
                  <c:v>36</c:v>
                </c:pt>
                <c:pt idx="48">
                  <c:v>35</c:v>
                </c:pt>
                <c:pt idx="49">
                  <c:v>32</c:v>
                </c:pt>
                <c:pt idx="50">
                  <c:v>31</c:v>
                </c:pt>
                <c:pt idx="51">
                  <c:v>28</c:v>
                </c:pt>
                <c:pt idx="52">
                  <c:v>30</c:v>
                </c:pt>
                <c:pt idx="53">
                  <c:v>32</c:v>
                </c:pt>
                <c:pt idx="54">
                  <c:v>34</c:v>
                </c:pt>
                <c:pt idx="55">
                  <c:v>34</c:v>
                </c:pt>
                <c:pt idx="56">
                  <c:v>36</c:v>
                </c:pt>
                <c:pt idx="57">
                  <c:v>37</c:v>
                </c:pt>
                <c:pt idx="58">
                  <c:v>38</c:v>
                </c:pt>
                <c:pt idx="59">
                  <c:v>40</c:v>
                </c:pt>
                <c:pt idx="60">
                  <c:v>42</c:v>
                </c:pt>
                <c:pt idx="61">
                  <c:v>43</c:v>
                </c:pt>
                <c:pt idx="62">
                  <c:v>43</c:v>
                </c:pt>
                <c:pt idx="63">
                  <c:v>43</c:v>
                </c:pt>
                <c:pt idx="64">
                  <c:v>43</c:v>
                </c:pt>
                <c:pt idx="65">
                  <c:v>43</c:v>
                </c:pt>
                <c:pt idx="66">
                  <c:v>45</c:v>
                </c:pt>
                <c:pt idx="67">
                  <c:v>46</c:v>
                </c:pt>
                <c:pt idx="68">
                  <c:v>43</c:v>
                </c:pt>
                <c:pt idx="69">
                  <c:v>44</c:v>
                </c:pt>
                <c:pt idx="70">
                  <c:v>43</c:v>
                </c:pt>
                <c:pt idx="71">
                  <c:v>43</c:v>
                </c:pt>
                <c:pt idx="72">
                  <c:v>42</c:v>
                </c:pt>
                <c:pt idx="73">
                  <c:v>37</c:v>
                </c:pt>
                <c:pt idx="74">
                  <c:v>38</c:v>
                </c:pt>
                <c:pt idx="75">
                  <c:v>36</c:v>
                </c:pt>
                <c:pt idx="76">
                  <c:v>41</c:v>
                </c:pt>
                <c:pt idx="77">
                  <c:v>47</c:v>
                </c:pt>
                <c:pt idx="78">
                  <c:v>48</c:v>
                </c:pt>
                <c:pt idx="79">
                  <c:v>46</c:v>
                </c:pt>
                <c:pt idx="80">
                  <c:v>44</c:v>
                </c:pt>
                <c:pt idx="81">
                  <c:v>50</c:v>
                </c:pt>
                <c:pt idx="82">
                  <c:v>50</c:v>
                </c:pt>
                <c:pt idx="83">
                  <c:v>52</c:v>
                </c:pt>
                <c:pt idx="84">
                  <c:v>52</c:v>
                </c:pt>
                <c:pt idx="85">
                  <c:v>51</c:v>
                </c:pt>
                <c:pt idx="86">
                  <c:v>52</c:v>
                </c:pt>
                <c:pt idx="87">
                  <c:v>53</c:v>
                </c:pt>
                <c:pt idx="88">
                  <c:v>56</c:v>
                </c:pt>
                <c:pt idx="89">
                  <c:v>58</c:v>
                </c:pt>
                <c:pt idx="90">
                  <c:v>60</c:v>
                </c:pt>
                <c:pt idx="91">
                  <c:v>59</c:v>
                </c:pt>
                <c:pt idx="92">
                  <c:v>61</c:v>
                </c:pt>
                <c:pt idx="93">
                  <c:v>62</c:v>
                </c:pt>
                <c:pt idx="94">
                  <c:v>68</c:v>
                </c:pt>
                <c:pt idx="95">
                  <c:v>70</c:v>
                </c:pt>
                <c:pt idx="96">
                  <c:v>75</c:v>
                </c:pt>
                <c:pt idx="97">
                  <c:v>78</c:v>
                </c:pt>
                <c:pt idx="98">
                  <c:v>85</c:v>
                </c:pt>
                <c:pt idx="99">
                  <c:v>91</c:v>
                </c:pt>
                <c:pt idx="100">
                  <c:v>93</c:v>
                </c:pt>
                <c:pt idx="101">
                  <c:v>94</c:v>
                </c:pt>
                <c:pt idx="102">
                  <c:v>99</c:v>
                </c:pt>
                <c:pt idx="103">
                  <c:v>105</c:v>
                </c:pt>
                <c:pt idx="104">
                  <c:v>113</c:v>
                </c:pt>
                <c:pt idx="105">
                  <c:v>115</c:v>
                </c:pt>
                <c:pt idx="106">
                  <c:v>116</c:v>
                </c:pt>
                <c:pt idx="107">
                  <c:v>122</c:v>
                </c:pt>
                <c:pt idx="108">
                  <c:v>121</c:v>
                </c:pt>
                <c:pt idx="109">
                  <c:v>129</c:v>
                </c:pt>
                <c:pt idx="110">
                  <c:v>133</c:v>
                </c:pt>
                <c:pt idx="111">
                  <c:v>135</c:v>
                </c:pt>
                <c:pt idx="112">
                  <c:v>136</c:v>
                </c:pt>
                <c:pt idx="113">
                  <c:v>136</c:v>
                </c:pt>
                <c:pt idx="114">
                  <c:v>134</c:v>
                </c:pt>
                <c:pt idx="115">
                  <c:v>145</c:v>
                </c:pt>
                <c:pt idx="116">
                  <c:v>157</c:v>
                </c:pt>
                <c:pt idx="117">
                  <c:v>158</c:v>
                </c:pt>
                <c:pt idx="118">
                  <c:v>168</c:v>
                </c:pt>
                <c:pt idx="119">
                  <c:v>178</c:v>
                </c:pt>
                <c:pt idx="120">
                  <c:v>183</c:v>
                </c:pt>
                <c:pt idx="121">
                  <c:v>186</c:v>
                </c:pt>
                <c:pt idx="122">
                  <c:v>208</c:v>
                </c:pt>
                <c:pt idx="123">
                  <c:v>219</c:v>
                </c:pt>
                <c:pt idx="124">
                  <c:v>235</c:v>
                </c:pt>
                <c:pt idx="125">
                  <c:v>274</c:v>
                </c:pt>
                <c:pt idx="126">
                  <c:v>301</c:v>
                </c:pt>
                <c:pt idx="127">
                  <c:v>330</c:v>
                </c:pt>
                <c:pt idx="128">
                  <c:v>333</c:v>
                </c:pt>
                <c:pt idx="129">
                  <c:v>376</c:v>
                </c:pt>
                <c:pt idx="130">
                  <c:v>422</c:v>
                </c:pt>
                <c:pt idx="131">
                  <c:v>473</c:v>
                </c:pt>
                <c:pt idx="132">
                  <c:v>487</c:v>
                </c:pt>
                <c:pt idx="133">
                  <c:v>545</c:v>
                </c:pt>
                <c:pt idx="134">
                  <c:v>592</c:v>
                </c:pt>
                <c:pt idx="135">
                  <c:v>619</c:v>
                </c:pt>
                <c:pt idx="136">
                  <c:v>681</c:v>
                </c:pt>
                <c:pt idx="137">
                  <c:v>762</c:v>
                </c:pt>
                <c:pt idx="138">
                  <c:v>835</c:v>
                </c:pt>
                <c:pt idx="139">
                  <c:v>878</c:v>
                </c:pt>
                <c:pt idx="140">
                  <c:v>952</c:v>
                </c:pt>
                <c:pt idx="141">
                  <c:v>1008</c:v>
                </c:pt>
                <c:pt idx="142">
                  <c:v>1010</c:v>
                </c:pt>
                <c:pt idx="143">
                  <c:v>1050</c:v>
                </c:pt>
                <c:pt idx="144">
                  <c:v>1129</c:v>
                </c:pt>
                <c:pt idx="145">
                  <c:v>1230</c:v>
                </c:pt>
                <c:pt idx="146">
                  <c:v>1284</c:v>
                </c:pt>
                <c:pt idx="147">
                  <c:v>1353</c:v>
                </c:pt>
                <c:pt idx="148">
                  <c:v>1390</c:v>
                </c:pt>
                <c:pt idx="149">
                  <c:v>1399</c:v>
                </c:pt>
                <c:pt idx="150">
                  <c:v>1432</c:v>
                </c:pt>
                <c:pt idx="151">
                  <c:v>1545</c:v>
                </c:pt>
                <c:pt idx="152">
                  <c:v>1546</c:v>
                </c:pt>
                <c:pt idx="153">
                  <c:v>1600</c:v>
                </c:pt>
                <c:pt idx="154">
                  <c:v>1701</c:v>
                </c:pt>
                <c:pt idx="155">
                  <c:v>1797</c:v>
                </c:pt>
                <c:pt idx="156">
                  <c:v>1843</c:v>
                </c:pt>
                <c:pt idx="157">
                  <c:v>1857</c:v>
                </c:pt>
                <c:pt idx="158">
                  <c:v>1965</c:v>
                </c:pt>
                <c:pt idx="159">
                  <c:v>1952</c:v>
                </c:pt>
                <c:pt idx="160">
                  <c:v>2037</c:v>
                </c:pt>
                <c:pt idx="161">
                  <c:v>2073</c:v>
                </c:pt>
                <c:pt idx="162">
                  <c:v>2110</c:v>
                </c:pt>
                <c:pt idx="163">
                  <c:v>2131</c:v>
                </c:pt>
                <c:pt idx="164">
                  <c:v>2083</c:v>
                </c:pt>
                <c:pt idx="165">
                  <c:v>2057</c:v>
                </c:pt>
                <c:pt idx="166">
                  <c:v>2139</c:v>
                </c:pt>
                <c:pt idx="167">
                  <c:v>2060</c:v>
                </c:pt>
                <c:pt idx="168">
                  <c:v>1955</c:v>
                </c:pt>
                <c:pt idx="169">
                  <c:v>1959</c:v>
                </c:pt>
                <c:pt idx="170">
                  <c:v>1941</c:v>
                </c:pt>
                <c:pt idx="171">
                  <c:v>1803</c:v>
                </c:pt>
                <c:pt idx="172">
                  <c:v>1748</c:v>
                </c:pt>
                <c:pt idx="173">
                  <c:v>1696</c:v>
                </c:pt>
                <c:pt idx="174">
                  <c:v>1666</c:v>
                </c:pt>
                <c:pt idx="175">
                  <c:v>1599</c:v>
                </c:pt>
                <c:pt idx="176">
                  <c:v>1599</c:v>
                </c:pt>
                <c:pt idx="177">
                  <c:v>1586</c:v>
                </c:pt>
                <c:pt idx="178">
                  <c:v>1446</c:v>
                </c:pt>
                <c:pt idx="179">
                  <c:v>1555</c:v>
                </c:pt>
                <c:pt idx="180">
                  <c:v>1625</c:v>
                </c:pt>
                <c:pt idx="181">
                  <c:v>1679</c:v>
                </c:pt>
                <c:pt idx="182">
                  <c:v>17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4.662547463082748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18.06.21</c:v>
                </c:pt>
                <c:pt idx="1">
                  <c:v>19.06.21</c:v>
                </c:pt>
                <c:pt idx="2">
                  <c:v>20.06.21</c:v>
                </c:pt>
                <c:pt idx="3">
                  <c:v>21.06.21</c:v>
                </c:pt>
                <c:pt idx="4">
                  <c:v>22.06.21</c:v>
                </c:pt>
                <c:pt idx="5">
                  <c:v>23.06.21</c:v>
                </c:pt>
                <c:pt idx="6">
                  <c:v>24.06.21</c:v>
                </c:pt>
                <c:pt idx="7">
                  <c:v>25.06.21</c:v>
                </c:pt>
                <c:pt idx="8">
                  <c:v>26.06.21</c:v>
                </c:pt>
                <c:pt idx="9">
                  <c:v>27.06.21</c:v>
                </c:pt>
                <c:pt idx="10">
                  <c:v>28.06.21</c:v>
                </c:pt>
                <c:pt idx="11">
                  <c:v>29.06.21</c:v>
                </c:pt>
                <c:pt idx="12">
                  <c:v>30.06.21</c:v>
                </c:pt>
                <c:pt idx="13">
                  <c:v>01.07.21</c:v>
                </c:pt>
                <c:pt idx="14">
                  <c:v>02.07.21</c:v>
                </c:pt>
                <c:pt idx="15">
                  <c:v>03.07.21</c:v>
                </c:pt>
                <c:pt idx="16">
                  <c:v>04.07.21</c:v>
                </c:pt>
                <c:pt idx="17">
                  <c:v>05.07.21</c:v>
                </c:pt>
                <c:pt idx="18">
                  <c:v>06.07.21</c:v>
                </c:pt>
                <c:pt idx="19">
                  <c:v>07.07.21</c:v>
                </c:pt>
                <c:pt idx="20">
                  <c:v>08.07.21</c:v>
                </c:pt>
                <c:pt idx="21">
                  <c:v>09.07.21</c:v>
                </c:pt>
                <c:pt idx="22">
                  <c:v>10.07.21</c:v>
                </c:pt>
                <c:pt idx="23">
                  <c:v>11.07.21</c:v>
                </c:pt>
                <c:pt idx="24">
                  <c:v>12.07.21</c:v>
                </c:pt>
                <c:pt idx="25">
                  <c:v>13.07.21</c:v>
                </c:pt>
                <c:pt idx="26">
                  <c:v>14.07.21</c:v>
                </c:pt>
                <c:pt idx="27">
                  <c:v>15.07.21</c:v>
                </c:pt>
                <c:pt idx="28">
                  <c:v>16.07.21</c:v>
                </c:pt>
                <c:pt idx="29">
                  <c:v>17.07.21</c:v>
                </c:pt>
                <c:pt idx="30">
                  <c:v>18.07.21</c:v>
                </c:pt>
                <c:pt idx="31">
                  <c:v>19.07.21</c:v>
                </c:pt>
                <c:pt idx="32">
                  <c:v>20.07.21</c:v>
                </c:pt>
                <c:pt idx="33">
                  <c:v>21.07.21</c:v>
                </c:pt>
                <c:pt idx="34">
                  <c:v>22.07.21</c:v>
                </c:pt>
                <c:pt idx="35">
                  <c:v>23.07.21</c:v>
                </c:pt>
                <c:pt idx="36">
                  <c:v>24.07.21</c:v>
                </c:pt>
                <c:pt idx="37">
                  <c:v>25.07.21</c:v>
                </c:pt>
                <c:pt idx="38">
                  <c:v>26.07.21</c:v>
                </c:pt>
                <c:pt idx="39">
                  <c:v>27.07.21</c:v>
                </c:pt>
                <c:pt idx="40">
                  <c:v>28.07.21</c:v>
                </c:pt>
                <c:pt idx="41">
                  <c:v>29.07.21</c:v>
                </c:pt>
                <c:pt idx="42">
                  <c:v>30.07.21</c:v>
                </c:pt>
                <c:pt idx="43">
                  <c:v>31.07.21</c:v>
                </c:pt>
                <c:pt idx="44">
                  <c:v>01.08.21</c:v>
                </c:pt>
                <c:pt idx="45">
                  <c:v>02.08.21</c:v>
                </c:pt>
                <c:pt idx="46">
                  <c:v>03.08.21</c:v>
                </c:pt>
                <c:pt idx="47">
                  <c:v>04.08.21</c:v>
                </c:pt>
                <c:pt idx="48">
                  <c:v>05.08.21</c:v>
                </c:pt>
                <c:pt idx="49">
                  <c:v>06.08.21</c:v>
                </c:pt>
                <c:pt idx="50">
                  <c:v>07.08.21</c:v>
                </c:pt>
                <c:pt idx="51">
                  <c:v>08.08.21</c:v>
                </c:pt>
                <c:pt idx="52">
                  <c:v>09.08.21</c:v>
                </c:pt>
                <c:pt idx="53">
                  <c:v>10.08.21</c:v>
                </c:pt>
                <c:pt idx="54">
                  <c:v>11.08.21</c:v>
                </c:pt>
                <c:pt idx="55">
                  <c:v>12.08.21</c:v>
                </c:pt>
                <c:pt idx="56">
                  <c:v>13.08.21</c:v>
                </c:pt>
                <c:pt idx="57">
                  <c:v>14.08.21</c:v>
                </c:pt>
                <c:pt idx="58">
                  <c:v>15.08.21</c:v>
                </c:pt>
                <c:pt idx="59">
                  <c:v>16.08.21</c:v>
                </c:pt>
                <c:pt idx="60">
                  <c:v>17.08.21</c:v>
                </c:pt>
                <c:pt idx="61">
                  <c:v>18.08.21</c:v>
                </c:pt>
                <c:pt idx="62">
                  <c:v>19.08.21</c:v>
                </c:pt>
                <c:pt idx="63">
                  <c:v>20.08.21</c:v>
                </c:pt>
                <c:pt idx="64">
                  <c:v>21.08.21</c:v>
                </c:pt>
                <c:pt idx="65">
                  <c:v>22.08.21</c:v>
                </c:pt>
                <c:pt idx="66">
                  <c:v>23.08.21</c:v>
                </c:pt>
                <c:pt idx="67">
                  <c:v>24.08.21</c:v>
                </c:pt>
                <c:pt idx="68">
                  <c:v>25.08.21</c:v>
                </c:pt>
                <c:pt idx="69">
                  <c:v>26.08.21</c:v>
                </c:pt>
                <c:pt idx="70">
                  <c:v>27.08.21</c:v>
                </c:pt>
                <c:pt idx="71">
                  <c:v>28.08.21</c:v>
                </c:pt>
                <c:pt idx="72">
                  <c:v>29.08.21</c:v>
                </c:pt>
                <c:pt idx="73">
                  <c:v>30.08.21</c:v>
                </c:pt>
                <c:pt idx="74">
                  <c:v>31.08.21</c:v>
                </c:pt>
                <c:pt idx="75">
                  <c:v>01.09.21</c:v>
                </c:pt>
                <c:pt idx="76">
                  <c:v>02.09.21</c:v>
                </c:pt>
                <c:pt idx="77">
                  <c:v>03.09.21</c:v>
                </c:pt>
                <c:pt idx="78">
                  <c:v>04.09.21</c:v>
                </c:pt>
                <c:pt idx="79">
                  <c:v>05.09.21</c:v>
                </c:pt>
                <c:pt idx="80">
                  <c:v>06.09.21</c:v>
                </c:pt>
                <c:pt idx="81">
                  <c:v>07.09.21</c:v>
                </c:pt>
                <c:pt idx="82">
                  <c:v>08.09.21</c:v>
                </c:pt>
                <c:pt idx="83">
                  <c:v>09.09.21</c:v>
                </c:pt>
                <c:pt idx="84">
                  <c:v>10.09.21</c:v>
                </c:pt>
                <c:pt idx="85">
                  <c:v>11.09.21</c:v>
                </c:pt>
                <c:pt idx="86">
                  <c:v>12.09.21</c:v>
                </c:pt>
                <c:pt idx="87">
                  <c:v>13.09.21</c:v>
                </c:pt>
                <c:pt idx="88">
                  <c:v>14.09.21</c:v>
                </c:pt>
                <c:pt idx="89">
                  <c:v>15.09.21</c:v>
                </c:pt>
                <c:pt idx="90">
                  <c:v>16.09.21</c:v>
                </c:pt>
                <c:pt idx="91">
                  <c:v>17.09.21</c:v>
                </c:pt>
                <c:pt idx="92">
                  <c:v>18.09.21</c:v>
                </c:pt>
                <c:pt idx="93">
                  <c:v>19.09.21</c:v>
                </c:pt>
                <c:pt idx="94">
                  <c:v>20.09.21</c:v>
                </c:pt>
                <c:pt idx="95">
                  <c:v>21.09.21</c:v>
                </c:pt>
                <c:pt idx="96">
                  <c:v>22.09.21</c:v>
                </c:pt>
                <c:pt idx="97">
                  <c:v>23.09.21</c:v>
                </c:pt>
                <c:pt idx="98">
                  <c:v>24.09.21</c:v>
                </c:pt>
                <c:pt idx="99">
                  <c:v>25.09.21</c:v>
                </c:pt>
                <c:pt idx="100">
                  <c:v>26.09.21</c:v>
                </c:pt>
                <c:pt idx="101">
                  <c:v>27.09.21</c:v>
                </c:pt>
                <c:pt idx="102">
                  <c:v>28.09.21</c:v>
                </c:pt>
                <c:pt idx="103">
                  <c:v>29.09.21</c:v>
                </c:pt>
                <c:pt idx="104">
                  <c:v>30.09.21</c:v>
                </c:pt>
                <c:pt idx="105">
                  <c:v>01.10.21</c:v>
                </c:pt>
                <c:pt idx="106">
                  <c:v>02.10.21</c:v>
                </c:pt>
                <c:pt idx="107">
                  <c:v>03.10.21</c:v>
                </c:pt>
                <c:pt idx="108">
                  <c:v>04.10.21</c:v>
                </c:pt>
                <c:pt idx="109">
                  <c:v>05.10.21</c:v>
                </c:pt>
                <c:pt idx="110">
                  <c:v>06.10.21</c:v>
                </c:pt>
                <c:pt idx="111">
                  <c:v>07.10.21</c:v>
                </c:pt>
                <c:pt idx="112">
                  <c:v>08.10.21</c:v>
                </c:pt>
                <c:pt idx="113">
                  <c:v>09.10.21</c:v>
                </c:pt>
                <c:pt idx="114">
                  <c:v>10.10.21</c:v>
                </c:pt>
                <c:pt idx="115">
                  <c:v>11.10.21</c:v>
                </c:pt>
                <c:pt idx="116">
                  <c:v>12.10.21</c:v>
                </c:pt>
                <c:pt idx="117">
                  <c:v>13.10.21</c:v>
                </c:pt>
                <c:pt idx="118">
                  <c:v>14.10.21</c:v>
                </c:pt>
                <c:pt idx="119">
                  <c:v>15.10.21</c:v>
                </c:pt>
                <c:pt idx="120">
                  <c:v>16.10.21</c:v>
                </c:pt>
                <c:pt idx="121">
                  <c:v>17.10.21</c:v>
                </c:pt>
                <c:pt idx="122">
                  <c:v>18.10.21</c:v>
                </c:pt>
                <c:pt idx="123">
                  <c:v>19.10.21</c:v>
                </c:pt>
                <c:pt idx="124">
                  <c:v>20.10.21</c:v>
                </c:pt>
                <c:pt idx="125">
                  <c:v>21.10.21</c:v>
                </c:pt>
                <c:pt idx="126">
                  <c:v>22.10.21</c:v>
                </c:pt>
                <c:pt idx="127">
                  <c:v>23.10.21</c:v>
                </c:pt>
                <c:pt idx="128">
                  <c:v>24.10.21</c:v>
                </c:pt>
                <c:pt idx="129">
                  <c:v>25.10.21</c:v>
                </c:pt>
                <c:pt idx="130">
                  <c:v>26.10.21</c:v>
                </c:pt>
                <c:pt idx="131">
                  <c:v>27.10.21</c:v>
                </c:pt>
                <c:pt idx="132">
                  <c:v>28.10.21</c:v>
                </c:pt>
                <c:pt idx="133">
                  <c:v>29.10.21</c:v>
                </c:pt>
                <c:pt idx="134">
                  <c:v>30.10.21</c:v>
                </c:pt>
                <c:pt idx="135">
                  <c:v>31.10.21</c:v>
                </c:pt>
                <c:pt idx="136">
                  <c:v>01.11.21</c:v>
                </c:pt>
                <c:pt idx="137">
                  <c:v>02.11.21</c:v>
                </c:pt>
                <c:pt idx="138">
                  <c:v>03.11.21</c:v>
                </c:pt>
                <c:pt idx="139">
                  <c:v>04.11.21</c:v>
                </c:pt>
                <c:pt idx="140">
                  <c:v>05.11.21</c:v>
                </c:pt>
                <c:pt idx="141">
                  <c:v>06.11.21</c:v>
                </c:pt>
                <c:pt idx="142">
                  <c:v>07.11.21</c:v>
                </c:pt>
                <c:pt idx="143">
                  <c:v>08.11.21</c:v>
                </c:pt>
                <c:pt idx="144">
                  <c:v>09.11.21</c:v>
                </c:pt>
                <c:pt idx="145">
                  <c:v>10.11.21</c:v>
                </c:pt>
                <c:pt idx="146">
                  <c:v>11.11.21</c:v>
                </c:pt>
                <c:pt idx="147">
                  <c:v>12.11.21</c:v>
                </c:pt>
                <c:pt idx="148">
                  <c:v>13.11.21</c:v>
                </c:pt>
                <c:pt idx="149">
                  <c:v>14.11.21</c:v>
                </c:pt>
                <c:pt idx="150">
                  <c:v>15.11.21</c:v>
                </c:pt>
                <c:pt idx="151">
                  <c:v>16.11.21</c:v>
                </c:pt>
                <c:pt idx="152">
                  <c:v>17.11.21</c:v>
                </c:pt>
                <c:pt idx="153">
                  <c:v>18.11.21</c:v>
                </c:pt>
                <c:pt idx="154">
                  <c:v>19.11.21</c:v>
                </c:pt>
                <c:pt idx="155">
                  <c:v>20.11.21</c:v>
                </c:pt>
                <c:pt idx="156">
                  <c:v>21.11.21</c:v>
                </c:pt>
                <c:pt idx="157">
                  <c:v>22.11.21</c:v>
                </c:pt>
                <c:pt idx="158">
                  <c:v>23.11.21</c:v>
                </c:pt>
                <c:pt idx="159">
                  <c:v>24.11.21</c:v>
                </c:pt>
                <c:pt idx="160">
                  <c:v>25.11.21</c:v>
                </c:pt>
                <c:pt idx="161">
                  <c:v>26.11.21</c:v>
                </c:pt>
                <c:pt idx="162">
                  <c:v>27.11.21</c:v>
                </c:pt>
                <c:pt idx="163">
                  <c:v>28.11.21</c:v>
                </c:pt>
                <c:pt idx="164">
                  <c:v>29.11.21</c:v>
                </c:pt>
                <c:pt idx="165">
                  <c:v>30.11.21</c:v>
                </c:pt>
                <c:pt idx="166">
                  <c:v>01.12.21</c:v>
                </c:pt>
                <c:pt idx="167">
                  <c:v>02.12.21</c:v>
                </c:pt>
                <c:pt idx="168">
                  <c:v>03.12.21</c:v>
                </c:pt>
                <c:pt idx="169">
                  <c:v>04.12.21</c:v>
                </c:pt>
                <c:pt idx="170">
                  <c:v>05.12.21</c:v>
                </c:pt>
                <c:pt idx="171">
                  <c:v>06.12.21</c:v>
                </c:pt>
                <c:pt idx="172">
                  <c:v>07.12.21</c:v>
                </c:pt>
                <c:pt idx="173">
                  <c:v>08.12.21</c:v>
                </c:pt>
                <c:pt idx="174">
                  <c:v>09.12.21</c:v>
                </c:pt>
                <c:pt idx="175">
                  <c:v>10.12.21</c:v>
                </c:pt>
                <c:pt idx="176">
                  <c:v>11.12.21</c:v>
                </c:pt>
                <c:pt idx="177">
                  <c:v>12.12.21</c:v>
                </c:pt>
                <c:pt idx="178">
                  <c:v>13.12.21</c:v>
                </c:pt>
                <c:pt idx="179">
                  <c:v>14.12.21</c:v>
                </c:pt>
                <c:pt idx="180">
                  <c:v>15.12.21</c:v>
                </c:pt>
                <c:pt idx="181">
                  <c:v>16.12.21</c:v>
                </c:pt>
                <c:pt idx="182">
                  <c:v>17.12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24</c:v>
                </c:pt>
                <c:pt idx="1">
                  <c:v>22</c:v>
                </c:pt>
                <c:pt idx="2">
                  <c:v>23</c:v>
                </c:pt>
                <c:pt idx="3">
                  <c:v>22</c:v>
                </c:pt>
                <c:pt idx="4">
                  <c:v>21</c:v>
                </c:pt>
                <c:pt idx="5">
                  <c:v>23</c:v>
                </c:pt>
                <c:pt idx="6">
                  <c:v>24</c:v>
                </c:pt>
                <c:pt idx="7">
                  <c:v>23</c:v>
                </c:pt>
                <c:pt idx="8">
                  <c:v>24</c:v>
                </c:pt>
                <c:pt idx="9">
                  <c:v>26</c:v>
                </c:pt>
                <c:pt idx="10">
                  <c:v>26</c:v>
                </c:pt>
                <c:pt idx="11">
                  <c:v>27</c:v>
                </c:pt>
                <c:pt idx="12">
                  <c:v>27</c:v>
                </c:pt>
                <c:pt idx="13">
                  <c:v>26</c:v>
                </c:pt>
                <c:pt idx="14">
                  <c:v>27</c:v>
                </c:pt>
                <c:pt idx="15">
                  <c:v>25</c:v>
                </c:pt>
                <c:pt idx="16">
                  <c:v>25</c:v>
                </c:pt>
                <c:pt idx="17">
                  <c:v>25</c:v>
                </c:pt>
                <c:pt idx="18">
                  <c:v>24</c:v>
                </c:pt>
                <c:pt idx="19">
                  <c:v>24</c:v>
                </c:pt>
                <c:pt idx="20">
                  <c:v>28</c:v>
                </c:pt>
                <c:pt idx="21">
                  <c:v>31</c:v>
                </c:pt>
                <c:pt idx="22">
                  <c:v>30</c:v>
                </c:pt>
                <c:pt idx="23">
                  <c:v>29</c:v>
                </c:pt>
                <c:pt idx="24">
                  <c:v>31</c:v>
                </c:pt>
                <c:pt idx="25">
                  <c:v>31</c:v>
                </c:pt>
                <c:pt idx="26">
                  <c:v>35</c:v>
                </c:pt>
                <c:pt idx="27">
                  <c:v>37</c:v>
                </c:pt>
                <c:pt idx="28">
                  <c:v>41</c:v>
                </c:pt>
                <c:pt idx="29">
                  <c:v>42</c:v>
                </c:pt>
                <c:pt idx="30">
                  <c:v>43</c:v>
                </c:pt>
                <c:pt idx="31">
                  <c:v>46</c:v>
                </c:pt>
                <c:pt idx="32">
                  <c:v>51</c:v>
                </c:pt>
                <c:pt idx="33">
                  <c:v>50</c:v>
                </c:pt>
                <c:pt idx="34">
                  <c:v>49</c:v>
                </c:pt>
                <c:pt idx="35">
                  <c:v>48</c:v>
                </c:pt>
                <c:pt idx="36">
                  <c:v>48</c:v>
                </c:pt>
                <c:pt idx="37">
                  <c:v>49</c:v>
                </c:pt>
                <c:pt idx="38">
                  <c:v>50</c:v>
                </c:pt>
                <c:pt idx="39">
                  <c:v>54</c:v>
                </c:pt>
                <c:pt idx="40">
                  <c:v>51</c:v>
                </c:pt>
                <c:pt idx="41">
                  <c:v>50</c:v>
                </c:pt>
                <c:pt idx="42">
                  <c:v>48</c:v>
                </c:pt>
                <c:pt idx="43">
                  <c:v>48</c:v>
                </c:pt>
                <c:pt idx="44">
                  <c:v>46</c:v>
                </c:pt>
                <c:pt idx="45">
                  <c:v>44</c:v>
                </c:pt>
                <c:pt idx="46">
                  <c:v>46</c:v>
                </c:pt>
                <c:pt idx="47">
                  <c:v>48</c:v>
                </c:pt>
                <c:pt idx="48">
                  <c:v>44</c:v>
                </c:pt>
                <c:pt idx="49">
                  <c:v>45</c:v>
                </c:pt>
                <c:pt idx="50">
                  <c:v>44</c:v>
                </c:pt>
                <c:pt idx="51">
                  <c:v>42</c:v>
                </c:pt>
                <c:pt idx="52">
                  <c:v>45</c:v>
                </c:pt>
                <c:pt idx="53">
                  <c:v>44</c:v>
                </c:pt>
                <c:pt idx="54">
                  <c:v>44</c:v>
                </c:pt>
                <c:pt idx="55">
                  <c:v>43</c:v>
                </c:pt>
                <c:pt idx="56">
                  <c:v>48</c:v>
                </c:pt>
                <c:pt idx="57">
                  <c:v>49</c:v>
                </c:pt>
                <c:pt idx="58">
                  <c:v>49</c:v>
                </c:pt>
                <c:pt idx="59">
                  <c:v>47</c:v>
                </c:pt>
                <c:pt idx="60">
                  <c:v>44</c:v>
                </c:pt>
                <c:pt idx="61">
                  <c:v>43</c:v>
                </c:pt>
                <c:pt idx="62">
                  <c:v>41</c:v>
                </c:pt>
                <c:pt idx="63">
                  <c:v>43</c:v>
                </c:pt>
                <c:pt idx="64">
                  <c:v>44</c:v>
                </c:pt>
                <c:pt idx="65">
                  <c:v>45</c:v>
                </c:pt>
                <c:pt idx="66">
                  <c:v>42</c:v>
                </c:pt>
                <c:pt idx="67">
                  <c:v>43</c:v>
                </c:pt>
                <c:pt idx="68">
                  <c:v>47</c:v>
                </c:pt>
                <c:pt idx="69">
                  <c:v>45</c:v>
                </c:pt>
                <c:pt idx="70">
                  <c:v>44</c:v>
                </c:pt>
                <c:pt idx="71">
                  <c:v>42</c:v>
                </c:pt>
                <c:pt idx="72">
                  <c:v>43</c:v>
                </c:pt>
                <c:pt idx="73">
                  <c:v>41</c:v>
                </c:pt>
                <c:pt idx="74">
                  <c:v>42</c:v>
                </c:pt>
                <c:pt idx="75">
                  <c:v>44</c:v>
                </c:pt>
                <c:pt idx="76">
                  <c:v>48</c:v>
                </c:pt>
                <c:pt idx="77">
                  <c:v>50</c:v>
                </c:pt>
                <c:pt idx="78">
                  <c:v>53</c:v>
                </c:pt>
                <c:pt idx="79">
                  <c:v>52</c:v>
                </c:pt>
                <c:pt idx="80">
                  <c:v>56</c:v>
                </c:pt>
                <c:pt idx="81">
                  <c:v>57</c:v>
                </c:pt>
                <c:pt idx="82">
                  <c:v>54</c:v>
                </c:pt>
                <c:pt idx="83">
                  <c:v>53</c:v>
                </c:pt>
                <c:pt idx="84">
                  <c:v>55</c:v>
                </c:pt>
                <c:pt idx="85">
                  <c:v>54</c:v>
                </c:pt>
                <c:pt idx="86">
                  <c:v>57</c:v>
                </c:pt>
                <c:pt idx="87">
                  <c:v>58</c:v>
                </c:pt>
                <c:pt idx="88">
                  <c:v>58</c:v>
                </c:pt>
                <c:pt idx="89">
                  <c:v>62</c:v>
                </c:pt>
                <c:pt idx="90">
                  <c:v>65</c:v>
                </c:pt>
                <c:pt idx="91">
                  <c:v>63</c:v>
                </c:pt>
                <c:pt idx="92">
                  <c:v>62</c:v>
                </c:pt>
                <c:pt idx="93">
                  <c:v>65</c:v>
                </c:pt>
                <c:pt idx="94">
                  <c:v>66</c:v>
                </c:pt>
                <c:pt idx="95">
                  <c:v>73</c:v>
                </c:pt>
                <c:pt idx="96">
                  <c:v>80</c:v>
                </c:pt>
                <c:pt idx="97">
                  <c:v>82</c:v>
                </c:pt>
                <c:pt idx="98">
                  <c:v>85</c:v>
                </c:pt>
                <c:pt idx="99">
                  <c:v>88</c:v>
                </c:pt>
                <c:pt idx="100">
                  <c:v>87</c:v>
                </c:pt>
                <c:pt idx="101">
                  <c:v>90</c:v>
                </c:pt>
                <c:pt idx="102">
                  <c:v>95</c:v>
                </c:pt>
                <c:pt idx="103">
                  <c:v>96</c:v>
                </c:pt>
                <c:pt idx="104">
                  <c:v>101</c:v>
                </c:pt>
                <c:pt idx="105">
                  <c:v>104</c:v>
                </c:pt>
                <c:pt idx="106">
                  <c:v>106</c:v>
                </c:pt>
                <c:pt idx="107">
                  <c:v>108</c:v>
                </c:pt>
                <c:pt idx="108">
                  <c:v>110</c:v>
                </c:pt>
                <c:pt idx="109">
                  <c:v>112</c:v>
                </c:pt>
                <c:pt idx="110">
                  <c:v>121</c:v>
                </c:pt>
                <c:pt idx="111">
                  <c:v>127</c:v>
                </c:pt>
                <c:pt idx="112">
                  <c:v>132</c:v>
                </c:pt>
                <c:pt idx="113">
                  <c:v>137</c:v>
                </c:pt>
                <c:pt idx="114">
                  <c:v>139</c:v>
                </c:pt>
                <c:pt idx="115">
                  <c:v>148</c:v>
                </c:pt>
                <c:pt idx="116">
                  <c:v>177</c:v>
                </c:pt>
                <c:pt idx="117">
                  <c:v>183</c:v>
                </c:pt>
                <c:pt idx="118">
                  <c:v>191</c:v>
                </c:pt>
                <c:pt idx="119">
                  <c:v>195</c:v>
                </c:pt>
                <c:pt idx="120">
                  <c:v>201</c:v>
                </c:pt>
                <c:pt idx="121">
                  <c:v>205</c:v>
                </c:pt>
                <c:pt idx="122">
                  <c:v>232</c:v>
                </c:pt>
                <c:pt idx="123">
                  <c:v>272</c:v>
                </c:pt>
                <c:pt idx="124">
                  <c:v>309</c:v>
                </c:pt>
                <c:pt idx="125">
                  <c:v>348</c:v>
                </c:pt>
                <c:pt idx="126">
                  <c:v>379</c:v>
                </c:pt>
                <c:pt idx="127">
                  <c:v>402</c:v>
                </c:pt>
                <c:pt idx="128">
                  <c:v>415</c:v>
                </c:pt>
                <c:pt idx="129">
                  <c:v>463</c:v>
                </c:pt>
                <c:pt idx="130">
                  <c:v>517</c:v>
                </c:pt>
                <c:pt idx="131">
                  <c:v>566</c:v>
                </c:pt>
                <c:pt idx="132">
                  <c:v>589</c:v>
                </c:pt>
                <c:pt idx="133">
                  <c:v>654</c:v>
                </c:pt>
                <c:pt idx="134">
                  <c:v>697</c:v>
                </c:pt>
                <c:pt idx="135">
                  <c:v>726</c:v>
                </c:pt>
                <c:pt idx="136">
                  <c:v>799</c:v>
                </c:pt>
                <c:pt idx="137">
                  <c:v>872</c:v>
                </c:pt>
                <c:pt idx="138">
                  <c:v>932</c:v>
                </c:pt>
                <c:pt idx="139">
                  <c:v>985</c:v>
                </c:pt>
                <c:pt idx="140">
                  <c:v>1072</c:v>
                </c:pt>
                <c:pt idx="141">
                  <c:v>1100</c:v>
                </c:pt>
                <c:pt idx="142">
                  <c:v>1102</c:v>
                </c:pt>
                <c:pt idx="143">
                  <c:v>1135</c:v>
                </c:pt>
                <c:pt idx="144">
                  <c:v>1207</c:v>
                </c:pt>
                <c:pt idx="145">
                  <c:v>1282</c:v>
                </c:pt>
                <c:pt idx="146">
                  <c:v>1368</c:v>
                </c:pt>
                <c:pt idx="147">
                  <c:v>1430</c:v>
                </c:pt>
                <c:pt idx="148">
                  <c:v>1478</c:v>
                </c:pt>
                <c:pt idx="149">
                  <c:v>1488</c:v>
                </c:pt>
                <c:pt idx="150">
                  <c:v>1475</c:v>
                </c:pt>
                <c:pt idx="151">
                  <c:v>1548</c:v>
                </c:pt>
                <c:pt idx="152">
                  <c:v>1600</c:v>
                </c:pt>
                <c:pt idx="153">
                  <c:v>1646</c:v>
                </c:pt>
                <c:pt idx="154">
                  <c:v>1776</c:v>
                </c:pt>
                <c:pt idx="155">
                  <c:v>1856</c:v>
                </c:pt>
                <c:pt idx="156">
                  <c:v>1903</c:v>
                </c:pt>
                <c:pt idx="157">
                  <c:v>1937</c:v>
                </c:pt>
                <c:pt idx="158">
                  <c:v>1988</c:v>
                </c:pt>
                <c:pt idx="159">
                  <c:v>2031</c:v>
                </c:pt>
                <c:pt idx="160">
                  <c:v>2148</c:v>
                </c:pt>
                <c:pt idx="161">
                  <c:v>2131</c:v>
                </c:pt>
                <c:pt idx="162">
                  <c:v>2181</c:v>
                </c:pt>
                <c:pt idx="163">
                  <c:v>2203</c:v>
                </c:pt>
                <c:pt idx="164">
                  <c:v>2173</c:v>
                </c:pt>
                <c:pt idx="165">
                  <c:v>2155</c:v>
                </c:pt>
                <c:pt idx="166">
                  <c:v>2241</c:v>
                </c:pt>
                <c:pt idx="167">
                  <c:v>2143</c:v>
                </c:pt>
                <c:pt idx="168">
                  <c:v>2075</c:v>
                </c:pt>
                <c:pt idx="169">
                  <c:v>2077</c:v>
                </c:pt>
                <c:pt idx="170">
                  <c:v>2053</c:v>
                </c:pt>
                <c:pt idx="171">
                  <c:v>1972</c:v>
                </c:pt>
                <c:pt idx="172">
                  <c:v>1931</c:v>
                </c:pt>
                <c:pt idx="173">
                  <c:v>1871</c:v>
                </c:pt>
                <c:pt idx="174">
                  <c:v>1807</c:v>
                </c:pt>
                <c:pt idx="175">
                  <c:v>1743</c:v>
                </c:pt>
                <c:pt idx="176">
                  <c:v>1743</c:v>
                </c:pt>
                <c:pt idx="177">
                  <c:v>1719</c:v>
                </c:pt>
                <c:pt idx="178">
                  <c:v>1597</c:v>
                </c:pt>
                <c:pt idx="179">
                  <c:v>1756</c:v>
                </c:pt>
                <c:pt idx="180">
                  <c:v>1831</c:v>
                </c:pt>
                <c:pt idx="181">
                  <c:v>1899</c:v>
                </c:pt>
                <c:pt idx="182">
                  <c:v>19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14</c:f>
              <c:numCache>
                <c:formatCode>m/d/yyyy</c:formatCode>
                <c:ptCount val="180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</c:numCache>
            </c:numRef>
          </c:cat>
          <c:val>
            <c:numRef>
              <c:f>Sheet1!$B$135:$B$314</c:f>
              <c:numCache>
                <c:formatCode>General</c:formatCode>
                <c:ptCount val="180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</c:v>
                </c:pt>
                <c:pt idx="19">
                  <c:v>0</c:v>
                </c:pt>
                <c:pt idx="20">
                  <c:v>2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3</c:v>
                </c:pt>
                <c:pt idx="25">
                  <c:v>2</c:v>
                </c:pt>
                <c:pt idx="26">
                  <c:v>1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4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2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7</c:v>
                </c:pt>
                <c:pt idx="44">
                  <c:v>1</c:v>
                </c:pt>
                <c:pt idx="45">
                  <c:v>2</c:v>
                </c:pt>
                <c:pt idx="46">
                  <c:v>0</c:v>
                </c:pt>
                <c:pt idx="47">
                  <c:v>3</c:v>
                </c:pt>
                <c:pt idx="48">
                  <c:v>2</c:v>
                </c:pt>
                <c:pt idx="49">
                  <c:v>0</c:v>
                </c:pt>
                <c:pt idx="50">
                  <c:v>4</c:v>
                </c:pt>
                <c:pt idx="51">
                  <c:v>1</c:v>
                </c:pt>
                <c:pt idx="52">
                  <c:v>1</c:v>
                </c:pt>
                <c:pt idx="53">
                  <c:v>0</c:v>
                </c:pt>
                <c:pt idx="54">
                  <c:v>0</c:v>
                </c:pt>
                <c:pt idx="55">
                  <c:v>3</c:v>
                </c:pt>
                <c:pt idx="56">
                  <c:v>0</c:v>
                </c:pt>
                <c:pt idx="57">
                  <c:v>0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2</c:v>
                </c:pt>
                <c:pt idx="63">
                  <c:v>0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4</c:v>
                </c:pt>
                <c:pt idx="71">
                  <c:v>4</c:v>
                </c:pt>
                <c:pt idx="72">
                  <c:v>1</c:v>
                </c:pt>
                <c:pt idx="73">
                  <c:v>1</c:v>
                </c:pt>
                <c:pt idx="74">
                  <c:v>3</c:v>
                </c:pt>
                <c:pt idx="75">
                  <c:v>1</c:v>
                </c:pt>
                <c:pt idx="76">
                  <c:v>0</c:v>
                </c:pt>
                <c:pt idx="77">
                  <c:v>2</c:v>
                </c:pt>
                <c:pt idx="78">
                  <c:v>0</c:v>
                </c:pt>
                <c:pt idx="79">
                  <c:v>0</c:v>
                </c:pt>
                <c:pt idx="80">
                  <c:v>3</c:v>
                </c:pt>
                <c:pt idx="81">
                  <c:v>3</c:v>
                </c:pt>
                <c:pt idx="82">
                  <c:v>0</c:v>
                </c:pt>
                <c:pt idx="83">
                  <c:v>4</c:v>
                </c:pt>
                <c:pt idx="84">
                  <c:v>2</c:v>
                </c:pt>
                <c:pt idx="85">
                  <c:v>0</c:v>
                </c:pt>
                <c:pt idx="86">
                  <c:v>1</c:v>
                </c:pt>
                <c:pt idx="87">
                  <c:v>2</c:v>
                </c:pt>
                <c:pt idx="88">
                  <c:v>1</c:v>
                </c:pt>
                <c:pt idx="89">
                  <c:v>1</c:v>
                </c:pt>
                <c:pt idx="90">
                  <c:v>0</c:v>
                </c:pt>
                <c:pt idx="91">
                  <c:v>3</c:v>
                </c:pt>
                <c:pt idx="92">
                  <c:v>3</c:v>
                </c:pt>
                <c:pt idx="93">
                  <c:v>2</c:v>
                </c:pt>
                <c:pt idx="94">
                  <c:v>3</c:v>
                </c:pt>
                <c:pt idx="95">
                  <c:v>0</c:v>
                </c:pt>
                <c:pt idx="96">
                  <c:v>2</c:v>
                </c:pt>
                <c:pt idx="97">
                  <c:v>6</c:v>
                </c:pt>
                <c:pt idx="98">
                  <c:v>4</c:v>
                </c:pt>
                <c:pt idx="99">
                  <c:v>3</c:v>
                </c:pt>
                <c:pt idx="100">
                  <c:v>9</c:v>
                </c:pt>
                <c:pt idx="101">
                  <c:v>2</c:v>
                </c:pt>
                <c:pt idx="102">
                  <c:v>5</c:v>
                </c:pt>
                <c:pt idx="103">
                  <c:v>1</c:v>
                </c:pt>
                <c:pt idx="104">
                  <c:v>0</c:v>
                </c:pt>
                <c:pt idx="105">
                  <c:v>2</c:v>
                </c:pt>
                <c:pt idx="106">
                  <c:v>5</c:v>
                </c:pt>
                <c:pt idx="107">
                  <c:v>6</c:v>
                </c:pt>
                <c:pt idx="108">
                  <c:v>6</c:v>
                </c:pt>
                <c:pt idx="109">
                  <c:v>1</c:v>
                </c:pt>
                <c:pt idx="110">
                  <c:v>1</c:v>
                </c:pt>
                <c:pt idx="111">
                  <c:v>3</c:v>
                </c:pt>
                <c:pt idx="112">
                  <c:v>10</c:v>
                </c:pt>
                <c:pt idx="113">
                  <c:v>7</c:v>
                </c:pt>
                <c:pt idx="114">
                  <c:v>7</c:v>
                </c:pt>
                <c:pt idx="115">
                  <c:v>6</c:v>
                </c:pt>
                <c:pt idx="116">
                  <c:v>5</c:v>
                </c:pt>
                <c:pt idx="117">
                  <c:v>8</c:v>
                </c:pt>
                <c:pt idx="118">
                  <c:v>17</c:v>
                </c:pt>
                <c:pt idx="119">
                  <c:v>17</c:v>
                </c:pt>
                <c:pt idx="120">
                  <c:v>13</c:v>
                </c:pt>
                <c:pt idx="121">
                  <c:v>13</c:v>
                </c:pt>
                <c:pt idx="122">
                  <c:v>17</c:v>
                </c:pt>
                <c:pt idx="123">
                  <c:v>15</c:v>
                </c:pt>
                <c:pt idx="124">
                  <c:v>12</c:v>
                </c:pt>
                <c:pt idx="125">
                  <c:v>29</c:v>
                </c:pt>
                <c:pt idx="126">
                  <c:v>20</c:v>
                </c:pt>
                <c:pt idx="127">
                  <c:v>23</c:v>
                </c:pt>
                <c:pt idx="128">
                  <c:v>22</c:v>
                </c:pt>
                <c:pt idx="129">
                  <c:v>38</c:v>
                </c:pt>
                <c:pt idx="130">
                  <c:v>22</c:v>
                </c:pt>
                <c:pt idx="131">
                  <c:v>18</c:v>
                </c:pt>
                <c:pt idx="132">
                  <c:v>57</c:v>
                </c:pt>
                <c:pt idx="133">
                  <c:v>39</c:v>
                </c:pt>
                <c:pt idx="134">
                  <c:v>39</c:v>
                </c:pt>
                <c:pt idx="135">
                  <c:v>27</c:v>
                </c:pt>
                <c:pt idx="136">
                  <c:v>41</c:v>
                </c:pt>
                <c:pt idx="137">
                  <c:v>21</c:v>
                </c:pt>
                <c:pt idx="138">
                  <c:v>19</c:v>
                </c:pt>
                <c:pt idx="139">
                  <c:v>53</c:v>
                </c:pt>
                <c:pt idx="140">
                  <c:v>46</c:v>
                </c:pt>
                <c:pt idx="141">
                  <c:v>48</c:v>
                </c:pt>
                <c:pt idx="142">
                  <c:v>50</c:v>
                </c:pt>
                <c:pt idx="143">
                  <c:v>45</c:v>
                </c:pt>
                <c:pt idx="144">
                  <c:v>50</c:v>
                </c:pt>
                <c:pt idx="145">
                  <c:v>23</c:v>
                </c:pt>
                <c:pt idx="146">
                  <c:v>64</c:v>
                </c:pt>
                <c:pt idx="147">
                  <c:v>62</c:v>
                </c:pt>
                <c:pt idx="148">
                  <c:v>44</c:v>
                </c:pt>
                <c:pt idx="149">
                  <c:v>56</c:v>
                </c:pt>
                <c:pt idx="150">
                  <c:v>84</c:v>
                </c:pt>
                <c:pt idx="151">
                  <c:v>49</c:v>
                </c:pt>
                <c:pt idx="152">
                  <c:v>31</c:v>
                </c:pt>
                <c:pt idx="153">
                  <c:v>63</c:v>
                </c:pt>
                <c:pt idx="154">
                  <c:v>73</c:v>
                </c:pt>
                <c:pt idx="155">
                  <c:v>44</c:v>
                </c:pt>
                <c:pt idx="156">
                  <c:v>69</c:v>
                </c:pt>
                <c:pt idx="157">
                  <c:v>57</c:v>
                </c:pt>
                <c:pt idx="158">
                  <c:v>33</c:v>
                </c:pt>
                <c:pt idx="159">
                  <c:v>42</c:v>
                </c:pt>
                <c:pt idx="160">
                  <c:v>64</c:v>
                </c:pt>
                <c:pt idx="161">
                  <c:v>52</c:v>
                </c:pt>
                <c:pt idx="162">
                  <c:v>55</c:v>
                </c:pt>
                <c:pt idx="163">
                  <c:v>43</c:v>
                </c:pt>
                <c:pt idx="164">
                  <c:v>52</c:v>
                </c:pt>
                <c:pt idx="165">
                  <c:v>27</c:v>
                </c:pt>
                <c:pt idx="166">
                  <c:v>17</c:v>
                </c:pt>
                <c:pt idx="167">
                  <c:v>47</c:v>
                </c:pt>
                <c:pt idx="168">
                  <c:v>44</c:v>
                </c:pt>
                <c:pt idx="169">
                  <c:v>31</c:v>
                </c:pt>
                <c:pt idx="170">
                  <c:v>33</c:v>
                </c:pt>
                <c:pt idx="171">
                  <c:v>34</c:v>
                </c:pt>
                <c:pt idx="172">
                  <c:v>21</c:v>
                </c:pt>
                <c:pt idx="173">
                  <c:v>13</c:v>
                </c:pt>
                <c:pt idx="174">
                  <c:v>30</c:v>
                </c:pt>
                <c:pt idx="175">
                  <c:v>24</c:v>
                </c:pt>
                <c:pt idx="176">
                  <c:v>25</c:v>
                </c:pt>
                <c:pt idx="177">
                  <c:v>15</c:v>
                </c:pt>
                <c:pt idx="178">
                  <c:v>24</c:v>
                </c:pt>
                <c:pt idx="179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4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chart" Target="../charts/chart9.xml"/><Relationship Id="rId4" Type="http://schemas.openxmlformats.org/officeDocument/2006/relationships/tags" Target="../tags/tag5.xml"/><Relationship Id="rId9" Type="http://schemas.openxmlformats.org/officeDocument/2006/relationships/notesSlide" Target="../notesSlides/notesSlide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chart" Target="../charts/chart11.xml"/><Relationship Id="rId4" Type="http://schemas.openxmlformats.org/officeDocument/2006/relationships/tags" Target="../tags/tag14.xml"/><Relationship Id="rId9" Type="http://schemas.openxmlformats.org/officeDocument/2006/relationships/notesSlide" Target="../notesSlides/notesSlide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chart" Target="../charts/chart1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chart" Target="../charts/chart13.xml"/><Relationship Id="rId4" Type="http://schemas.openxmlformats.org/officeDocument/2006/relationships/tags" Target="../tags/tag23.xml"/><Relationship Id="rId9" Type="http://schemas.openxmlformats.org/officeDocument/2006/relationships/notesSlide" Target="../notesSlides/notesSlide2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chart" Target="../charts/chart1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chart" Target="../charts/chart15.xml"/><Relationship Id="rId4" Type="http://schemas.openxmlformats.org/officeDocument/2006/relationships/tags" Target="../tags/tag32.xml"/><Relationship Id="rId9" Type="http://schemas.openxmlformats.org/officeDocument/2006/relationships/notesSlide" Target="../notesSlides/notesSlide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8.xml"/><Relationship Id="rId7" Type="http://schemas.openxmlformats.org/officeDocument/2006/relationships/chart" Target="../charts/chart16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microsoft.com/office/2007/relationships/hdphoto" Target="../media/hdphoto1.wdp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5.xml"/><Relationship Id="rId7" Type="http://schemas.openxmlformats.org/officeDocument/2006/relationships/chart" Target="../charts/chart17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microsoft.com/office/2007/relationships/hdphoto" Target="../media/hdphoto1.wdp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9.xml"/><Relationship Id="rId1" Type="http://schemas.openxmlformats.org/officeDocument/2006/relationships/tags" Target="../tags/tag48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52.xml"/><Relationship Id="rId7" Type="http://schemas.openxmlformats.org/officeDocument/2006/relationships/chart" Target="../charts/chart18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microsoft.com/office/2007/relationships/hdphoto" Target="../media/hdphoto1.wdp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59.xml"/><Relationship Id="rId7" Type="http://schemas.openxmlformats.org/officeDocument/2006/relationships/chart" Target="../charts/chart1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4" Type="http://schemas.openxmlformats.org/officeDocument/2006/relationships/chart" Target="../charts/char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8 % a sestry 83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0577555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7417558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0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7373367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7071700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7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17. 12. 2021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profesními kategoriemi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 nejnižší proočkovanost u nelékařských zdravotnických profesí – aktuálně dosahuje 80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12 / 2021 k 17. 12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17. 12. 2021</a:t>
            </a:r>
          </a:p>
        </p:txBody>
      </p:sp>
    </p:spTree>
    <p:extLst>
      <p:ext uri="{BB962C8B-B14F-4D97-AF65-F5344CB8AC3E}">
        <p14:creationId xmlns:p14="http://schemas.microsoft.com/office/powerpoint/2010/main" val="1645142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-12 / 2021 k 17. 12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17. 12. 2021</a:t>
            </a:r>
          </a:p>
        </p:txBody>
      </p:sp>
    </p:spTree>
    <p:extLst>
      <p:ext uri="{BB962C8B-B14F-4D97-AF65-F5344CB8AC3E}">
        <p14:creationId xmlns:p14="http://schemas.microsoft.com/office/powerpoint/2010/main" val="11197486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7. 12. 2021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3456335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7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9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EF7D4DC-91BC-4154-BC00-B819EF1A92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392801"/>
              </p:ext>
            </p:extLst>
          </p:nvPr>
        </p:nvGraphicFramePr>
        <p:xfrm>
          <a:off x="1943099" y="1600994"/>
          <a:ext cx="9946013" cy="4555950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376825072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189388634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07691608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00947460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53807625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118122975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754079760"/>
                    </a:ext>
                  </a:extLst>
                </a:gridCol>
              </a:tblGrid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7898555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CC6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5958319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8949100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520726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0359279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6846226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C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2724399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079974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C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1656376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9C9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702108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7647538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6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C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3079610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1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616302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5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4286428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719354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7. 12. 2021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1904760"/>
              </p:ext>
            </p:extLst>
          </p:nvPr>
        </p:nvGraphicFramePr>
        <p:xfrm>
          <a:off x="302889" y="921878"/>
          <a:ext cx="11586222" cy="5235072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6578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 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8 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22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 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9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76 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6 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 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1 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 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 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8 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 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1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 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7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 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 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 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 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7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5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 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 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 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 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2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 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 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48 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84 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 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9 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 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7 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 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 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 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4 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7 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 (7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9 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4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35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29 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071 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17 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89 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52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83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48535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714F479-78DB-44B4-B70B-325AC352EB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0165572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2339656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0388183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72928984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08511778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874503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0500853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5358037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29730295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77069318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3660383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1171203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9951050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4024678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7476120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2650059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743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900683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00170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5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14957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C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B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2114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6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23181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07436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E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43790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516422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112224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9432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27106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3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741696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7. 12. 2021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0385773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54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2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9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BABA86C1-240B-4968-A2C5-B16DF13176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8597808"/>
              </p:ext>
            </p:extLst>
          </p:nvPr>
        </p:nvGraphicFramePr>
        <p:xfrm>
          <a:off x="2419350" y="1343818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317090359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11966043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242536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5586327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4408525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01752983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022602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15827326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1352310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29859453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1127863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7774147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2113356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4566026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483014813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638891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463719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744487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270456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686776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607237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487345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17327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0846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114263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67158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0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841914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9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6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094649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7. 12. 2021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F1561B3-7273-473B-A2DD-A77D8870E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0168848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2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1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1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8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4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1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9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83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0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BBA2963-4BB2-4E1C-A405-B7CC7EAE38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9000585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406977144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77177171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01827139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8562279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3767976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9844658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04580196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45869171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58328953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12830574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16142299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3781592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3892600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6988314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179707605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682317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637890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16084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4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429439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715862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097230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418601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F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658475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325884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061848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098419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91994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184387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 a ve více typech zdravotnických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7. 12. 2021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0FC5E21-D439-468C-9A0B-56B392BA28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272833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91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2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4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5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0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1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29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7. 12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5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0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3 (5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8 (6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4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6765" y="170234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89707" y="153307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6765" y="199762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492063" y="2907371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42614330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4A2CCF00-4AB0-4FD5-AB8B-28BA2B6A6FA4}"/>
              </a:ext>
            </a:extLst>
          </p:cNvPr>
          <p:cNvSpPr/>
          <p:nvPr/>
        </p:nvSpPr>
        <p:spPr>
          <a:xfrm>
            <a:off x="5441156" y="1227656"/>
            <a:ext cx="144000" cy="45921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/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*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7. 12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723900" y="6567385"/>
            <a:ext cx="4933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4745385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1451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7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9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107070DB-7A5B-419B-A663-E01DC064A02B}"/>
              </a:ext>
            </a:extLst>
          </p:cNvPr>
          <p:cNvSpPr txBox="1"/>
          <p:nvPr/>
        </p:nvSpPr>
        <p:spPr>
          <a:xfrm>
            <a:off x="6095202" y="6093400"/>
            <a:ext cx="609679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000" dirty="0"/>
              <a:t>* Počty aktuálně pozitivních ZP jsou nadhodnocené z důvodu zpoždění v aktualizaci údajů o negativitě/ vyléčení, které u ZP provádí KHS. Odhadovaný počet pravděpodobně již negativních ZP (které je třeba od celkových počtů odečíst) je 834 celkem (119 lékařů, 342 sester, 373 jiných ZP), odhad vychází z počtu aktuálně pozitivních ZP s datem pozitivity starším než 14 dní.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C812EBEA-69C2-4803-874F-B7F4E542DD9A}"/>
              </a:ext>
            </a:extLst>
          </p:cNvPr>
          <p:cNvSpPr/>
          <p:nvPr/>
        </p:nvSpPr>
        <p:spPr>
          <a:xfrm>
            <a:off x="5926827" y="6111714"/>
            <a:ext cx="21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573190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84880725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06361195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 11.–20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 11.–27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11.–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2.–1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2.–18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9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3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95CFE655-BEE9-4DE2-B980-65136AE915FD}"/>
              </a:ext>
            </a:extLst>
          </p:cNvPr>
          <p:cNvCxnSpPr>
            <a:cxnSpLocks/>
          </p:cNvCxnSpPr>
          <p:nvPr/>
        </p:nvCxnSpPr>
        <p:spPr>
          <a:xfrm flipV="1">
            <a:off x="8023721" y="3198541"/>
            <a:ext cx="1758454" cy="1782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9D3A5FA6-DF59-4974-AD14-85F21837514F}"/>
              </a:ext>
            </a:extLst>
          </p:cNvPr>
          <p:cNvCxnSpPr>
            <a:cxnSpLocks/>
          </p:cNvCxnSpPr>
          <p:nvPr/>
        </p:nvCxnSpPr>
        <p:spPr>
          <a:xfrm>
            <a:off x="9934575" y="3198541"/>
            <a:ext cx="4953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13994501-0525-49C1-AEA0-947A2999B5EF}"/>
              </a:ext>
            </a:extLst>
          </p:cNvPr>
          <p:cNvCxnSpPr>
            <a:cxnSpLocks/>
          </p:cNvCxnSpPr>
          <p:nvPr/>
        </p:nvCxnSpPr>
        <p:spPr>
          <a:xfrm>
            <a:off x="10559775" y="3245685"/>
            <a:ext cx="1143913" cy="1231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58122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6362822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</p:spTree>
    <p:extLst>
      <p:ext uri="{BB962C8B-B14F-4D97-AF65-F5344CB8AC3E}">
        <p14:creationId xmlns:p14="http://schemas.microsoft.com/office/powerpoint/2010/main" val="21804359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818875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1723572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 11.–20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 11.–27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11.–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2.–1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2.–18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6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7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3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41057748-8070-41FD-84BB-6385978B738F}"/>
              </a:ext>
            </a:extLst>
          </p:cNvPr>
          <p:cNvCxnSpPr>
            <a:cxnSpLocks/>
          </p:cNvCxnSpPr>
          <p:nvPr/>
        </p:nvCxnSpPr>
        <p:spPr>
          <a:xfrm flipV="1">
            <a:off x="8157071" y="3265216"/>
            <a:ext cx="1758454" cy="1782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813A8F9A-EE78-405F-ADFC-633EB8BF2F22}"/>
              </a:ext>
            </a:extLst>
          </p:cNvPr>
          <p:cNvCxnSpPr>
            <a:cxnSpLocks/>
          </p:cNvCxnSpPr>
          <p:nvPr/>
        </p:nvCxnSpPr>
        <p:spPr>
          <a:xfrm>
            <a:off x="10067925" y="3265216"/>
            <a:ext cx="4953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35C83EC6-2592-4E9D-A783-D3D6DB0077F1}"/>
              </a:ext>
            </a:extLst>
          </p:cNvPr>
          <p:cNvCxnSpPr>
            <a:cxnSpLocks/>
          </p:cNvCxnSpPr>
          <p:nvPr/>
        </p:nvCxnSpPr>
        <p:spPr>
          <a:xfrm>
            <a:off x="10693125" y="3312360"/>
            <a:ext cx="1143913" cy="1231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3009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8682F60F-46D8-48C4-9BAF-DC595C3B4A5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4327162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311299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68903925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511331826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 11.–20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 11.–27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11.–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2.–1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2.–18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0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7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B276E3B2-FF6F-4806-A245-BAD606A64329}"/>
              </a:ext>
            </a:extLst>
          </p:cNvPr>
          <p:cNvCxnSpPr>
            <a:cxnSpLocks/>
          </p:cNvCxnSpPr>
          <p:nvPr/>
        </p:nvCxnSpPr>
        <p:spPr>
          <a:xfrm flipV="1">
            <a:off x="8157071" y="3217591"/>
            <a:ext cx="1758454" cy="1782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57A369A8-4077-4816-B629-1CD40F0D855C}"/>
              </a:ext>
            </a:extLst>
          </p:cNvPr>
          <p:cNvCxnSpPr>
            <a:cxnSpLocks/>
          </p:cNvCxnSpPr>
          <p:nvPr/>
        </p:nvCxnSpPr>
        <p:spPr>
          <a:xfrm>
            <a:off x="10067925" y="3217591"/>
            <a:ext cx="4953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EA6FC4BE-1FF4-4546-B5CD-FEF9832E8676}"/>
              </a:ext>
            </a:extLst>
          </p:cNvPr>
          <p:cNvCxnSpPr>
            <a:cxnSpLocks/>
          </p:cNvCxnSpPr>
          <p:nvPr/>
        </p:nvCxnSpPr>
        <p:spPr>
          <a:xfrm>
            <a:off x="10693125" y="3264735"/>
            <a:ext cx="1143913" cy="1231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17053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77767C90-51A5-48DE-BF7F-14E45D3CD23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639265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392391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84726592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50719913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 11.–20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 11.–27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11.–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2.–1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2.–18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8E153808-87DF-479F-B87B-EB8DAC5FC1B6}"/>
              </a:ext>
            </a:extLst>
          </p:cNvPr>
          <p:cNvCxnSpPr>
            <a:cxnSpLocks/>
          </p:cNvCxnSpPr>
          <p:nvPr/>
        </p:nvCxnSpPr>
        <p:spPr>
          <a:xfrm flipV="1">
            <a:off x="8157071" y="3474766"/>
            <a:ext cx="1758454" cy="1782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3DC7096E-5C32-4334-993E-0D62B67B98D5}"/>
              </a:ext>
            </a:extLst>
          </p:cNvPr>
          <p:cNvCxnSpPr>
            <a:cxnSpLocks/>
          </p:cNvCxnSpPr>
          <p:nvPr/>
        </p:nvCxnSpPr>
        <p:spPr>
          <a:xfrm>
            <a:off x="10067925" y="3474766"/>
            <a:ext cx="4953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7139F105-C4C3-4620-AFB6-0FB17E2F6C7A}"/>
              </a:ext>
            </a:extLst>
          </p:cNvPr>
          <p:cNvCxnSpPr>
            <a:cxnSpLocks/>
          </p:cNvCxnSpPr>
          <p:nvPr/>
        </p:nvCxnSpPr>
        <p:spPr>
          <a:xfrm>
            <a:off x="10693125" y="3521910"/>
            <a:ext cx="1143913" cy="1231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27597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22440" y="104660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3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0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54864" y="2902204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22440" y="3696653"/>
            <a:ext cx="11189401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listopadu a první poloviny prosince mírně vzrostla, a to ve všech profesních skupinách. Celková proočkovanost ZP dosáhla 83,1 % (jen ZP skutečně aktivní ve zdravotnictví)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070096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B56CA99-6E31-4294-BBDA-8014D3659263}"/>
              </a:ext>
            </a:extLst>
          </p:cNvPr>
          <p:cNvGraphicFramePr>
            <a:graphicFrameLocks noGrp="1"/>
          </p:cNvGraphicFramePr>
          <p:nvPr/>
        </p:nvGraphicFramePr>
        <p:xfrm>
          <a:off x="2333625" y="2260664"/>
          <a:ext cx="9284988" cy="3621345"/>
        </p:xfrm>
        <a:graphic>
          <a:graphicData uri="http://schemas.openxmlformats.org/drawingml/2006/table">
            <a:tbl>
              <a:tblPr/>
              <a:tblGrid>
                <a:gridCol w="773749">
                  <a:extLst>
                    <a:ext uri="{9D8B030D-6E8A-4147-A177-3AD203B41FA5}">
                      <a16:colId xmlns:a16="http://schemas.microsoft.com/office/drawing/2014/main" val="4035098173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291918610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1615753475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116770570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430473585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497270142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133771837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857936124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244176266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982687210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691419555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1821710712"/>
                    </a:ext>
                  </a:extLst>
                </a:gridCol>
              </a:tblGrid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D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7100689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119301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3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479626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5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3407595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32059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7240105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945135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1839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A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1555534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9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2085291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6993202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1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69184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7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3287648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198592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5551178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7. 12. 2021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546085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1C16A30C-B3FF-4A1E-BE76-6085A2B1018A}"/>
              </a:ext>
            </a:extLst>
          </p:cNvPr>
          <p:cNvGraphicFramePr>
            <a:graphicFrameLocks noGrp="1"/>
          </p:cNvGraphicFramePr>
          <p:nvPr/>
        </p:nvGraphicFramePr>
        <p:xfrm>
          <a:off x="3787238" y="1996281"/>
          <a:ext cx="7347932" cy="3996645"/>
        </p:xfrm>
        <a:graphic>
          <a:graphicData uri="http://schemas.openxmlformats.org/drawingml/2006/table">
            <a:tbl>
              <a:tblPr/>
              <a:tblGrid>
                <a:gridCol w="1836983">
                  <a:extLst>
                    <a:ext uri="{9D8B030D-6E8A-4147-A177-3AD203B41FA5}">
                      <a16:colId xmlns:a16="http://schemas.microsoft.com/office/drawing/2014/main" val="2031670091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723518427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47829037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3458142137"/>
                    </a:ext>
                  </a:extLst>
                </a:gridCol>
              </a:tblGrid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222525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638630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414577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176232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1300024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0423289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9024654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17821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3390662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242817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8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11619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973927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57527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3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6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2711158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6381124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5 / 2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50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45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 (120 / 4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7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3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21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51 / 3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5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0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28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7 / 5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8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0 / 5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8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4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7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16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37 / 2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8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6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2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2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9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33 / 1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5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6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7 / 3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1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0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3 / 2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0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(36 / 3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(32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78 / 4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2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19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(36 / 3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1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7 / 3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9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30 / 4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9 / -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68 / 5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85 / 10 / 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 (277 / 27 / 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 (220 / 1 / 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9 (582 / 38 / 5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11. 12. – 17. 12. 2021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795865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9A6C5758-F634-4719-AB93-A6AA9C800B7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4658233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060071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lékařů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262595" y="1110693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ékaři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7" name="Obrázek 6">
            <a:extLst>
              <a:ext uri="{FF2B5EF4-FFF2-40B4-BE49-F238E27FC236}">
                <a16:creationId xmlns:a16="http://schemas.microsoft.com/office/drawing/2014/main" id="{82641AFC-1605-4F41-BF39-23E7E7AF4C2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76573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lékaři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626914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kařů</a:t>
            </a: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10F4A238-310C-43D5-9DDD-97D20F84F44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036414"/>
              </p:ext>
            </p:extLst>
          </p:nvPr>
        </p:nvGraphicFramePr>
        <p:xfrm>
          <a:off x="1777230" y="533334"/>
          <a:ext cx="9468550" cy="4377040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8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003184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1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7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6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1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7690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3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2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4E5136DD-EA08-44B4-9244-D47999FE566C}"/>
              </a:ext>
            </a:extLst>
          </p:cNvPr>
          <p:cNvSpPr txBox="1"/>
          <p:nvPr/>
        </p:nvSpPr>
        <p:spPr>
          <a:xfrm>
            <a:off x="1777230" y="4868698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12. 2021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B5B0BB0-5406-461D-A320-1D46AFD62DAA}"/>
              </a:ext>
            </a:extLst>
          </p:cNvPr>
          <p:cNvSpPr txBox="1"/>
          <p:nvPr/>
        </p:nvSpPr>
        <p:spPr>
          <a:xfrm>
            <a:off x="262533" y="5111641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994600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BCCEF7F4-60D7-46B4-B95D-88F70A4D4E2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1059907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1691878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sester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564955" y="121546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stry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3D86CEB2-6B62-4921-BB74-B46CF4D5A22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80513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sestry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350326" y="561308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sester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FAFEA63F-04FB-40D6-90F8-9B8C35D88AED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931780"/>
              </p:ext>
            </p:extLst>
          </p:nvPr>
        </p:nvGraphicFramePr>
        <p:xfrm>
          <a:off x="1417014" y="561308"/>
          <a:ext cx="9468550" cy="4377040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456686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7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7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23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2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6294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3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A1BE29D4-5059-46A8-8336-40CC2C52E68C}"/>
              </a:ext>
            </a:extLst>
          </p:cNvPr>
          <p:cNvSpPr txBox="1"/>
          <p:nvPr/>
        </p:nvSpPr>
        <p:spPr>
          <a:xfrm>
            <a:off x="1417014" y="4873668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12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4D16114-8A1C-47F6-83C5-8DA746CAC7CE}"/>
              </a:ext>
            </a:extLst>
          </p:cNvPr>
          <p:cNvSpPr txBox="1"/>
          <p:nvPr/>
        </p:nvSpPr>
        <p:spPr>
          <a:xfrm>
            <a:off x="262533" y="5084356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954641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7FE9486C-9D7B-4F78-A06B-1A43F68807D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493491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1232925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: populace ostatních ZP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444630" y="127261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ZP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38602B0B-CEB9-4E9D-8C0C-ACF8FD6CEBD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50318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ostatní ZP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479634" y="673357"/>
            <a:ext cx="43325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ostatních ZP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EB02C89D-4557-42AD-AF89-7DAB06F8F618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8652395"/>
              </p:ext>
            </p:extLst>
          </p:nvPr>
        </p:nvGraphicFramePr>
        <p:xfrm>
          <a:off x="1666394" y="580369"/>
          <a:ext cx="9468550" cy="4377040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7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08703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525693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2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9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7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5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3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8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7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0" name="TextBox 6">
            <a:extLst>
              <a:ext uri="{FF2B5EF4-FFF2-40B4-BE49-F238E27FC236}">
                <a16:creationId xmlns:a16="http://schemas.microsoft.com/office/drawing/2014/main" id="{53D98EF4-F012-4FF8-820F-951E602B41D7}"/>
              </a:ext>
            </a:extLst>
          </p:cNvPr>
          <p:cNvSpPr txBox="1"/>
          <p:nvPr/>
        </p:nvSpPr>
        <p:spPr>
          <a:xfrm>
            <a:off x="1666394" y="4887170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12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AC4C7860-74B9-47D2-87FF-FCD709F5F14C}"/>
              </a:ext>
            </a:extLst>
          </p:cNvPr>
          <p:cNvSpPr txBox="1"/>
          <p:nvPr/>
        </p:nvSpPr>
        <p:spPr>
          <a:xfrm>
            <a:off x="262533" y="5158244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600537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16E8B61E-7B09-49AD-B350-4EA2A0B2F24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9364435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888805" y="1376200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7" name="Obrázek 6">
            <a:extLst>
              <a:ext uri="{FF2B5EF4-FFF2-40B4-BE49-F238E27FC236}">
                <a16:creationId xmlns:a16="http://schemas.microsoft.com/office/drawing/2014/main" id="{1F87F473-CBAF-415A-B69A-D06AAEB5FED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7734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7014923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1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4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 1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2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8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5 4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2 1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7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7. 12. 2021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771128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A65F9ACD-3961-458D-951B-62BFB867A8B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7605133"/>
              </p:ext>
            </p:extLst>
          </p:nvPr>
        </p:nvGraphicFramePr>
        <p:xfrm>
          <a:off x="1666394" y="550035"/>
          <a:ext cx="9468550" cy="4377040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3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1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69193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3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9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6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5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3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5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E62E2B61-6665-4653-AF65-AA7DB242ABA7}"/>
              </a:ext>
            </a:extLst>
          </p:cNvPr>
          <p:cNvSpPr txBox="1"/>
          <p:nvPr/>
        </p:nvSpPr>
        <p:spPr>
          <a:xfrm>
            <a:off x="1666394" y="4856579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12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07B7F61-2FDD-429A-A54E-2F0F9482D1BE}"/>
              </a:ext>
            </a:extLst>
          </p:cNvPr>
          <p:cNvSpPr txBox="1"/>
          <p:nvPr/>
        </p:nvSpPr>
        <p:spPr>
          <a:xfrm>
            <a:off x="262533" y="5158244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525347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7. 12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7822560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1496291" y="6211667"/>
            <a:ext cx="105730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55608988-FFDF-4500-A7BA-71BB7DDEE99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6084840"/>
              </p:ext>
            </p:extLst>
          </p:nvPr>
        </p:nvGraphicFramePr>
        <p:xfrm>
          <a:off x="1330189" y="1037794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3452296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7. 12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784983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9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4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 2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9 7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7 6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2 1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 1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8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1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563338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17. 12. 2021</a:t>
            </a:r>
            <a:endParaRPr lang="cs-CZ" b="1" dirty="0">
              <a:solidFill>
                <a:schemeClr val="bg1"/>
              </a:solidFill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lang="pl-PL" sz="1100" dirty="0"/>
              <a:t>v období od 1.9.2021 do současnosti </a:t>
            </a:r>
            <a:r>
              <a:rPr lang="cs-CZ" sz="1100" dirty="0"/>
              <a:t>(v ambulantním sektoru mohou být tyto počty mírně nedohlášené). </a:t>
            </a:r>
          </a:p>
        </p:txBody>
      </p:sp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4567601D-A50C-4550-904F-A1C3633503D3}"/>
              </a:ext>
            </a:extLst>
          </p:cNvPr>
          <p:cNvGraphicFramePr>
            <a:graphicFrameLocks noGrp="1"/>
          </p:cNvGraphicFramePr>
          <p:nvPr/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2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4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 4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 6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0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7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5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8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7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* Přeočkování posilující dávkou je možné pro osoby, které mají nejméně 6 měsíců (v této analýze 182 dnů) po aplikaci ukončovací (druhé) dávky.</a:t>
            </a:r>
          </a:p>
          <a:p>
            <a:r>
              <a:rPr lang="cs-CZ" sz="1100" dirty="0"/>
              <a:t>** Jeden zdravotnický pracovník může působit ve více krajích, do celkového počtu je zahrnut pouze jednou. </a:t>
            </a:r>
          </a:p>
        </p:txBody>
      </p:sp>
    </p:spTree>
    <p:extLst>
      <p:ext uri="{BB962C8B-B14F-4D97-AF65-F5344CB8AC3E}">
        <p14:creationId xmlns:p14="http://schemas.microsoft.com/office/powerpoint/2010/main" val="3419267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7. 12. 2021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1881099"/>
              </p:ext>
            </p:extLst>
          </p:nvPr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945 (87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764 (62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66 (24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5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6 (2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42 (9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422 (83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141 (45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703 (35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8 (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39 (7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46 (9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 261 (80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741 (39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165 (39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5 (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44 (7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18 (11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13 (79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20 (4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70 (36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 (1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6 (7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3 (13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91 (79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0 (35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0 (42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(1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 (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7 (10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7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959 (8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37 (39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61 (40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1 (1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6 (8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6 (10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99 (85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8 (5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5 (33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(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(5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 (8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33 (75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8 (34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64 (39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(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3 (9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0 (15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40 (82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66 (42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53 (38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 (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4 (7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6 (10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37 (8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37 (39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88 (39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2 (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7 (6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7 (12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9 7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7 628 (83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7 646 (47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6 634 (34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 348 (1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 159 (6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 006 (10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781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7. 12. 2021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/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/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2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5 2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2 3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6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7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6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2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49 7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5517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128</TotalTime>
  <Words>10109</Words>
  <Application>Microsoft Office PowerPoint</Application>
  <PresentationFormat>Širokoúhlá obrazovka</PresentationFormat>
  <Paragraphs>2182</Paragraphs>
  <Slides>43</Slides>
  <Notes>26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43</vt:i4>
      </vt:variant>
    </vt:vector>
  </HeadingPairs>
  <TitlesOfParts>
    <vt:vector size="49" baseType="lpstr">
      <vt:lpstr>Arial</vt:lpstr>
      <vt:lpstr>Calibri</vt:lpstr>
      <vt:lpstr>Calibri Light</vt:lpstr>
      <vt:lpstr>Motiv Office</vt:lpstr>
      <vt:lpstr>3_Motiv Office</vt:lpstr>
      <vt:lpstr>1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-12 / 2021 k 17. 12.</vt:lpstr>
      <vt:lpstr>Přehled povolání u COVID-19 pozitivních ostatních zdravotnických pracovníků za období 10-12 / 2021 k 17. 12.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lékařů</vt:lpstr>
      <vt:lpstr>Prezentace aplikace PowerPoint</vt:lpstr>
      <vt:lpstr>Počet nových případů COVID-19 na 100 tis. dané kategorie v populaci sester</vt:lpstr>
      <vt:lpstr>Prezentace aplikace PowerPoint</vt:lpstr>
      <vt:lpstr>Počet nových případů COVID-19 na 100 tis. dané kategorie: populace ostatních ZP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808</cp:revision>
  <dcterms:created xsi:type="dcterms:W3CDTF">2020-11-11T17:36:28Z</dcterms:created>
  <dcterms:modified xsi:type="dcterms:W3CDTF">2021-12-20T15:18:22Z</dcterms:modified>
</cp:coreProperties>
</file>